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7.xml" ContentType="application/vnd.openxmlformats-officedocument.drawingml.chart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</p:sldMasterIdLst>
  <p:notesMasterIdLst>
    <p:notesMasterId r:id="rId19"/>
  </p:notesMasterIdLst>
  <p:sldIdLst>
    <p:sldId id="256" r:id="rId2"/>
    <p:sldId id="319" r:id="rId3"/>
    <p:sldId id="322" r:id="rId4"/>
    <p:sldId id="321" r:id="rId5"/>
    <p:sldId id="324" r:id="rId6"/>
    <p:sldId id="323" r:id="rId7"/>
    <p:sldId id="326" r:id="rId8"/>
    <p:sldId id="325" r:id="rId9"/>
    <p:sldId id="310" r:id="rId10"/>
    <p:sldId id="311" r:id="rId11"/>
    <p:sldId id="318" r:id="rId12"/>
    <p:sldId id="313" r:id="rId13"/>
    <p:sldId id="312" r:id="rId14"/>
    <p:sldId id="314" r:id="rId15"/>
    <p:sldId id="315" r:id="rId16"/>
    <p:sldId id="316" r:id="rId17"/>
    <p:sldId id="317" r:id="rId18"/>
  </p:sldIdLst>
  <p:sldSz cx="21743988" cy="1261745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623"/>
    <p:restoredTop sz="94800"/>
  </p:normalViewPr>
  <p:slideViewPr>
    <p:cSldViewPr snapToGrid="0">
      <p:cViewPr>
        <p:scale>
          <a:sx n="134" d="100"/>
          <a:sy n="134" d="100"/>
        </p:scale>
        <p:origin x="720" y="-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0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1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2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3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4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5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6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7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8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542003957546322E-3"/>
          <c:y val="6.2780269058295965E-2"/>
          <c:w val="0.98129159920849074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3050.6618257261416</c:v>
                </c:pt>
                <c:pt idx="1">
                  <c:v>3061.6618257261416</c:v>
                </c:pt>
                <c:pt idx="2">
                  <c:v>3024.6618257261416</c:v>
                </c:pt>
                <c:pt idx="3">
                  <c:v>3286.6618257261416</c:v>
                </c:pt>
                <c:pt idx="4">
                  <c:v>3372.6618257261416</c:v>
                </c:pt>
                <c:pt idx="5">
                  <c:v>3307.6618257261416</c:v>
                </c:pt>
                <c:pt idx="6">
                  <c:v>3516.6618257261416</c:v>
                </c:pt>
                <c:pt idx="7">
                  <c:v>3182.6618257261416</c:v>
                </c:pt>
                <c:pt idx="8">
                  <c:v>3532.6618257261416</c:v>
                </c:pt>
                <c:pt idx="9">
                  <c:v>3092.6618257261416</c:v>
                </c:pt>
                <c:pt idx="10">
                  <c:v>1177.6618257261414</c:v>
                </c:pt>
                <c:pt idx="11">
                  <c:v>4265.66182572614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5-5841-A143-D236895EACD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605-5841-A143-D236895EACDB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605-5841-A143-D236895EACDB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605-5841-A143-D236895EACDB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605-5841-A143-D236895EACDB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605-5841-A143-D236895EACDB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605-5841-A143-D236895EACDB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605-5841-A143-D236895EAC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172</c:v>
                </c:pt>
                <c:pt idx="2">
                  <c:v>357</c:v>
                </c:pt>
                <c:pt idx="3">
                  <c:v>530</c:v>
                </c:pt>
                <c:pt idx="4">
                  <c:v>637</c:v>
                </c:pt>
                <c:pt idx="5">
                  <c:v>699</c:v>
                </c:pt>
                <c:pt idx="6">
                  <c:v>910</c:v>
                </c:pt>
                <c:pt idx="7">
                  <c:v>947</c:v>
                </c:pt>
                <c:pt idx="8">
                  <c:v>1101</c:v>
                </c:pt>
                <c:pt idx="9">
                  <c:v>1128</c:v>
                </c:pt>
                <c:pt idx="10">
                  <c:v>729</c:v>
                </c:pt>
                <c:pt idx="11">
                  <c:v>1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605-5841-A143-D236895EACDB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0"/>
              <c:layout>
                <c:manualLayout>
                  <c:x val="1.169275049469329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605-5841-A143-D236895EACDB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605-5841-A143-D236895EACDB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605-5841-A143-D236895EACDB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605-5841-A143-D236895EACDB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605-5841-A143-D236895EACDB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605-5841-A143-D236895EACDB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605-5841-A143-D236895EACDB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605-5841-A143-D236895EACDB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605-5841-A143-D236895EAC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385</c:v>
                </c:pt>
                <c:pt idx="1">
                  <c:v>381</c:v>
                </c:pt>
                <c:pt idx="2">
                  <c:v>415</c:v>
                </c:pt>
                <c:pt idx="3">
                  <c:v>371</c:v>
                </c:pt>
                <c:pt idx="4">
                  <c:v>380</c:v>
                </c:pt>
                <c:pt idx="5">
                  <c:v>460</c:v>
                </c:pt>
                <c:pt idx="6">
                  <c:v>432</c:v>
                </c:pt>
                <c:pt idx="7">
                  <c:v>525</c:v>
                </c:pt>
                <c:pt idx="8">
                  <c:v>718</c:v>
                </c:pt>
                <c:pt idx="9">
                  <c:v>913</c:v>
                </c:pt>
                <c:pt idx="10">
                  <c:v>182.00000000000023</c:v>
                </c:pt>
                <c:pt idx="11">
                  <c:v>7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605-5841-A143-D236895EA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95279664"/>
        <c:axId val="1"/>
      </c:areaChart>
      <c:catAx>
        <c:axId val="1595279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88.66182572614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59527966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0828153871997E-2"/>
          <c:y val="6.2780269058295965E-2"/>
          <c:w val="0.9030740802956492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0997816227112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173-1A44-8D4D-5885FF149093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173-1A44-8D4D-5885FF149093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173-1A44-8D4D-5885FF149093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173-1A44-8D4D-5885FF149093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173-1A44-8D4D-5885FF149093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173-1A44-8D4D-5885FF149093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173-1A44-8D4D-5885FF149093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173-1A44-8D4D-5885FF149093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173-1A44-8D4D-5885FF149093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173-1A44-8D4D-5885FF149093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173-1A44-8D4D-5885FF149093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173-1A44-8D4D-5885FF14909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7.687798523664782</c:v>
                </c:pt>
                <c:pt idx="1">
                  <c:v>92.053893486102268</c:v>
                </c:pt>
                <c:pt idx="2">
                  <c:v>86.166615431909008</c:v>
                </c:pt>
                <c:pt idx="3">
                  <c:v>80.922742540999806</c:v>
                </c:pt>
                <c:pt idx="4">
                  <c:v>76.022771130837512</c:v>
                </c:pt>
                <c:pt idx="5">
                  <c:v>71.716141001855277</c:v>
                </c:pt>
                <c:pt idx="6">
                  <c:v>66.465952359868936</c:v>
                </c:pt>
                <c:pt idx="7">
                  <c:v>60.398432941568728</c:v>
                </c:pt>
                <c:pt idx="8">
                  <c:v>54.304687500000007</c:v>
                </c:pt>
                <c:pt idx="9">
                  <c:v>45.930067950169871</c:v>
                </c:pt>
                <c:pt idx="10">
                  <c:v>39.361964704430456</c:v>
                </c:pt>
                <c:pt idx="11">
                  <c:v>36.397102481890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173-1A44-8D4D-5885FF14909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173-1A44-8D4D-5885FF149093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173-1A44-8D4D-5885FF149093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173-1A44-8D4D-5885FF149093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173-1A44-8D4D-5885FF149093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173-1A44-8D4D-5885FF149093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173-1A44-8D4D-5885FF149093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9173-1A44-8D4D-5885FF149093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9173-1A44-8D4D-5885FF149093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9173-1A44-8D4D-5885FF149093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9173-1A44-8D4D-5885FF149093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9173-1A44-8D4D-5885FF14909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5.336303840441337</c:v>
                </c:pt>
                <c:pt idx="2">
                  <c:v>10.76954606004713</c:v>
                </c:pt>
                <c:pt idx="3">
                  <c:v>16.478956727919382</c:v>
                </c:pt>
                <c:pt idx="4">
                  <c:v>21.565032805866458</c:v>
                </c:pt>
                <c:pt idx="5">
                  <c:v>25.185528756957321</c:v>
                </c:pt>
                <c:pt idx="6">
                  <c:v>31.417692375808027</c:v>
                </c:pt>
                <c:pt idx="7">
                  <c:v>36.667500208385427</c:v>
                </c:pt>
                <c:pt idx="8">
                  <c:v>42.289062500000007</c:v>
                </c:pt>
                <c:pt idx="9">
                  <c:v>50.212344280860698</c:v>
                </c:pt>
                <c:pt idx="10">
                  <c:v>59.595211650006185</c:v>
                </c:pt>
                <c:pt idx="11">
                  <c:v>60.1116256976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173-1A44-8D4D-5885FF149093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2.3122014763352183</c:v>
                </c:pt>
                <c:pt idx="1">
                  <c:v>2.6098026734563962</c:v>
                </c:pt>
                <c:pt idx="2">
                  <c:v>3.063838508043859</c:v>
                </c:pt>
                <c:pt idx="3">
                  <c:v>2.5983007310808159</c:v>
                </c:pt>
                <c:pt idx="4">
                  <c:v>2.4121960632960238</c:v>
                </c:pt>
                <c:pt idx="5">
                  <c:v>3.0983302411873859</c:v>
                </c:pt>
                <c:pt idx="6">
                  <c:v>2.1163552643230332</c:v>
                </c:pt>
                <c:pt idx="7">
                  <c:v>2.9340668500458467</c:v>
                </c:pt>
                <c:pt idx="8">
                  <c:v>3.4062500000000107</c:v>
                </c:pt>
                <c:pt idx="9">
                  <c:v>3.8575877689694282</c:v>
                </c:pt>
                <c:pt idx="10">
                  <c:v>1.0428236455633622</c:v>
                </c:pt>
                <c:pt idx="11">
                  <c:v>3.49127182044888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173-1A44-8D4D-5885FF1490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2391408"/>
        <c:axId val="1"/>
      </c:areaChart>
      <c:catAx>
        <c:axId val="1182391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&quot;%&quot;;&quot;-&quot;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82391408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34139784946236E-2"/>
          <c:y val="6.2780269058295965E-2"/>
          <c:w val="0.90692204301075274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9569892473118281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47-9943-BA78-D90C2874CFF5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47-9943-BA78-D90C2874CFF5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47-9943-BA78-D90C2874CFF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047-9943-BA78-D90C2874CFF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047-9943-BA78-D90C2874CFF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047-9943-BA78-D90C2874CFF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047-9943-BA78-D90C2874CFF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047-9943-BA78-D90C2874CFF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047-9943-BA78-D90C2874CFF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047-9943-BA78-D90C2874CFF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047-9943-BA78-D90C2874CFF5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047-9943-BA78-D90C2874CF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8679</c:v>
                </c:pt>
                <c:pt idx="1">
                  <c:v>18013</c:v>
                </c:pt>
                <c:pt idx="2">
                  <c:v>17419</c:v>
                </c:pt>
                <c:pt idx="3">
                  <c:v>16771</c:v>
                </c:pt>
                <c:pt idx="4">
                  <c:v>15982</c:v>
                </c:pt>
                <c:pt idx="5">
                  <c:v>15499</c:v>
                </c:pt>
                <c:pt idx="6">
                  <c:v>15109</c:v>
                </c:pt>
                <c:pt idx="7">
                  <c:v>14318</c:v>
                </c:pt>
                <c:pt idx="8">
                  <c:v>13871</c:v>
                </c:pt>
                <c:pt idx="9">
                  <c:v>13354</c:v>
                </c:pt>
                <c:pt idx="10">
                  <c:v>12604</c:v>
                </c:pt>
                <c:pt idx="11">
                  <c:v>118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047-9943-BA78-D90C2874CFF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047-9943-BA78-D90C2874CFF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047-9943-BA78-D90C2874CFF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047-9943-BA78-D90C2874CFF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047-9943-BA78-D90C2874CFF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047-9943-BA78-D90C2874CFF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047-9943-BA78-D90C2874CFF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047-9943-BA78-D90C2874CFF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047-9943-BA78-D90C2874CFF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047-9943-BA78-D90C2874CFF5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047-9943-BA78-D90C2874CF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1530</c:v>
                </c:pt>
                <c:pt idx="2">
                  <c:v>3003</c:v>
                </c:pt>
                <c:pt idx="3">
                  <c:v>4908</c:v>
                </c:pt>
                <c:pt idx="4">
                  <c:v>6491</c:v>
                </c:pt>
                <c:pt idx="5">
                  <c:v>7744</c:v>
                </c:pt>
                <c:pt idx="6">
                  <c:v>9312</c:v>
                </c:pt>
                <c:pt idx="7">
                  <c:v>10759</c:v>
                </c:pt>
                <c:pt idx="8">
                  <c:v>12375</c:v>
                </c:pt>
                <c:pt idx="9">
                  <c:v>14518</c:v>
                </c:pt>
                <c:pt idx="10">
                  <c:v>16533</c:v>
                </c:pt>
                <c:pt idx="11">
                  <c:v>17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047-9943-BA78-D90C2874CFF5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724</c:v>
                </c:pt>
                <c:pt idx="1">
                  <c:v>634</c:v>
                </c:pt>
                <c:pt idx="2">
                  <c:v>910</c:v>
                </c:pt>
                <c:pt idx="3">
                  <c:v>818</c:v>
                </c:pt>
                <c:pt idx="4">
                  <c:v>616</c:v>
                </c:pt>
                <c:pt idx="5">
                  <c:v>653</c:v>
                </c:pt>
                <c:pt idx="6">
                  <c:v>488</c:v>
                </c:pt>
                <c:pt idx="7">
                  <c:v>727</c:v>
                </c:pt>
                <c:pt idx="8">
                  <c:v>826</c:v>
                </c:pt>
                <c:pt idx="9">
                  <c:v>875</c:v>
                </c:pt>
                <c:pt idx="10">
                  <c:v>556</c:v>
                </c:pt>
                <c:pt idx="11">
                  <c:v>1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047-9943-BA78-D90C2874CF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6921663"/>
        <c:axId val="1"/>
      </c:areaChart>
      <c:catAx>
        <c:axId val="1126921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26921663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0828153871997E-2"/>
          <c:y val="6.2780269058295965E-2"/>
          <c:w val="0.9030740802956492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0997816227112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0D-3344-B9D3-25E7ECE29275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0D-3344-B9D3-25E7ECE29275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B0D-3344-B9D3-25E7ECE2927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B0D-3344-B9D3-25E7ECE2927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B0D-3344-B9D3-25E7ECE2927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B0D-3344-B9D3-25E7ECE2927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B0D-3344-B9D3-25E7ECE2927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B0D-3344-B9D3-25E7ECE2927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B0D-3344-B9D3-25E7ECE2927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B0D-3344-B9D3-25E7ECE2927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B0D-3344-B9D3-25E7ECE29275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B0D-3344-B9D3-25E7ECE2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6.268618254909029</c:v>
                </c:pt>
                <c:pt idx="1">
                  <c:v>89.274916984685532</c:v>
                </c:pt>
                <c:pt idx="2">
                  <c:v>81.656666041627602</c:v>
                </c:pt>
                <c:pt idx="3">
                  <c:v>74.547717473440898</c:v>
                </c:pt>
                <c:pt idx="4">
                  <c:v>69.21910866646455</c:v>
                </c:pt>
                <c:pt idx="5">
                  <c:v>64.860227653163705</c:v>
                </c:pt>
                <c:pt idx="6">
                  <c:v>60.656790718214303</c:v>
                </c:pt>
                <c:pt idx="7">
                  <c:v>55.487521314524876</c:v>
                </c:pt>
                <c:pt idx="8">
                  <c:v>51.237440898345156</c:v>
                </c:pt>
                <c:pt idx="9">
                  <c:v>46.453542978397742</c:v>
                </c:pt>
                <c:pt idx="10">
                  <c:v>42.447714949651434</c:v>
                </c:pt>
                <c:pt idx="11">
                  <c:v>38.246896016554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B0D-3344-B9D3-25E7ECE2927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B0D-3344-B9D3-25E7ECE29275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B0D-3344-B9D3-25E7ECE2927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B0D-3344-B9D3-25E7ECE2927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B0D-3344-B9D3-25E7ECE2927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B0D-3344-B9D3-25E7ECE2927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B0D-3344-B9D3-25E7ECE2927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B0D-3344-B9D3-25E7ECE2927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B0D-3344-B9D3-25E7ECE2927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B0D-3344-B9D3-25E7ECE2927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B0D-3344-B9D3-25E7ECE29275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B0D-3344-B9D3-25E7ECE2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7.5828914110125378</c:v>
                </c:pt>
                <c:pt idx="2">
                  <c:v>14.077442340146263</c:v>
                </c:pt>
                <c:pt idx="3">
                  <c:v>21.816242165622079</c:v>
                </c:pt>
                <c:pt idx="4">
                  <c:v>28.112954220624541</c:v>
                </c:pt>
                <c:pt idx="5">
                  <c:v>32.4070974221627</c:v>
                </c:pt>
                <c:pt idx="6">
                  <c:v>37.384078044080461</c:v>
                </c:pt>
                <c:pt idx="7">
                  <c:v>41.695086033173155</c:v>
                </c:pt>
                <c:pt idx="8">
                  <c:v>45.711436170212771</c:v>
                </c:pt>
                <c:pt idx="9">
                  <c:v>50.502661147250151</c:v>
                </c:pt>
                <c:pt idx="10">
                  <c:v>55.679789849459468</c:v>
                </c:pt>
                <c:pt idx="11">
                  <c:v>56.983962752198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B0D-3344-B9D3-25E7ECE29275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6B0D-3344-B9D3-25E7ECE2927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B0D-3344-B9D3-25E7ECE292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3.731381745090967</c:v>
                </c:pt>
                <c:pt idx="1">
                  <c:v>3.1421916043019249</c:v>
                </c:pt>
                <c:pt idx="2">
                  <c:v>4.2658916182261368</c:v>
                </c:pt>
                <c:pt idx="3">
                  <c:v>3.6360403609370096</c:v>
                </c:pt>
                <c:pt idx="4">
                  <c:v>2.667937112910912</c:v>
                </c:pt>
                <c:pt idx="5">
                  <c:v>2.7326749246735837</c:v>
                </c:pt>
                <c:pt idx="6">
                  <c:v>1.9591312377052361</c:v>
                </c:pt>
                <c:pt idx="7">
                  <c:v>2.8173926523019643</c:v>
                </c:pt>
                <c:pt idx="8">
                  <c:v>3.051122931442074</c:v>
                </c:pt>
                <c:pt idx="9">
                  <c:v>3.0437958743521065</c:v>
                </c:pt>
                <c:pt idx="10">
                  <c:v>1.8724952008891016</c:v>
                </c:pt>
                <c:pt idx="11">
                  <c:v>4.7691412312467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6B0D-3344-B9D3-25E7ECE292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1308400"/>
        <c:axId val="1"/>
      </c:areaChart>
      <c:catAx>
        <c:axId val="1181308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&quot;%&quot;;&quot;-&quot;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81308400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725991355008465E-3"/>
          <c:y val="6.2780269058295965E-2"/>
          <c:w val="0.98045480172899835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3381.1334149326804</c:v>
                </c:pt>
                <c:pt idx="1">
                  <c:v>3275.1334149326804</c:v>
                </c:pt>
                <c:pt idx="2">
                  <c:v>3162.1334149326804</c:v>
                </c:pt>
                <c:pt idx="3">
                  <c:v>3065.1334149326804</c:v>
                </c:pt>
                <c:pt idx="4">
                  <c:v>2931.1334149326804</c:v>
                </c:pt>
                <c:pt idx="5">
                  <c:v>2757.1334149326804</c:v>
                </c:pt>
                <c:pt idx="6">
                  <c:v>2640.1334149326804</c:v>
                </c:pt>
                <c:pt idx="7">
                  <c:v>2549.1334149326804</c:v>
                </c:pt>
                <c:pt idx="8">
                  <c:v>2443.1334149326804</c:v>
                </c:pt>
                <c:pt idx="9">
                  <c:v>2275.1334149326804</c:v>
                </c:pt>
                <c:pt idx="10">
                  <c:v>1446.1334149326804</c:v>
                </c:pt>
                <c:pt idx="11">
                  <c:v>2251.1334149326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79-0642-AF3F-878C778DC95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579-0642-AF3F-878C778DC951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579-0642-AF3F-878C778DC951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579-0642-AF3F-878C778DC951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579-0642-AF3F-878C778DC951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579-0642-AF3F-878C778DC951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579-0642-AF3F-878C778DC951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579-0642-AF3F-878C778DC951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579-0642-AF3F-878C778DC951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579-0642-AF3F-878C778DC951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579-0642-AF3F-878C778DC951}"/>
                </c:ext>
              </c:extLst>
            </c:dLbl>
            <c:dLbl>
              <c:idx val="11"/>
              <c:layout>
                <c:manualLayout>
                  <c:x val="-1.2215748919376056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579-0642-AF3F-878C778DC9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294</c:v>
                </c:pt>
                <c:pt idx="2">
                  <c:v>584</c:v>
                </c:pt>
                <c:pt idx="3">
                  <c:v>877</c:v>
                </c:pt>
                <c:pt idx="4">
                  <c:v>1109</c:v>
                </c:pt>
                <c:pt idx="5">
                  <c:v>1280</c:v>
                </c:pt>
                <c:pt idx="6">
                  <c:v>1416</c:v>
                </c:pt>
                <c:pt idx="7">
                  <c:v>1644</c:v>
                </c:pt>
                <c:pt idx="8">
                  <c:v>1840</c:v>
                </c:pt>
                <c:pt idx="9">
                  <c:v>1956</c:v>
                </c:pt>
                <c:pt idx="10">
                  <c:v>1548</c:v>
                </c:pt>
                <c:pt idx="11">
                  <c:v>2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579-0642-AF3F-878C778DC951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97</c:v>
                </c:pt>
                <c:pt idx="1">
                  <c:v>99</c:v>
                </c:pt>
                <c:pt idx="2">
                  <c:v>110</c:v>
                </c:pt>
                <c:pt idx="3">
                  <c:v>98</c:v>
                </c:pt>
                <c:pt idx="4">
                  <c:v>105</c:v>
                </c:pt>
                <c:pt idx="5">
                  <c:v>101</c:v>
                </c:pt>
                <c:pt idx="6">
                  <c:v>65</c:v>
                </c:pt>
                <c:pt idx="7">
                  <c:v>119</c:v>
                </c:pt>
                <c:pt idx="8">
                  <c:v>98</c:v>
                </c:pt>
                <c:pt idx="9">
                  <c:v>72</c:v>
                </c:pt>
                <c:pt idx="10">
                  <c:v>19</c:v>
                </c:pt>
                <c:pt idx="11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579-0642-AF3F-878C778DC9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8969199"/>
        <c:axId val="1"/>
      </c:areaChart>
      <c:catAx>
        <c:axId val="768969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93.13341493268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6896919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890510948905105E-3"/>
          <c:y val="6.2780269058295965E-2"/>
          <c:w val="0.9810218978102189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59.461943807110039</c:v>
                </c:pt>
                <c:pt idx="1">
                  <c:v>53.470842912273817</c:v>
                </c:pt>
                <c:pt idx="2">
                  <c:v>47.825093204742565</c:v>
                </c:pt>
                <c:pt idx="3">
                  <c:v>42.950334489878607</c:v>
                </c:pt>
                <c:pt idx="4">
                  <c:v>38.849272255725587</c:v>
                </c:pt>
                <c:pt idx="5">
                  <c:v>35.695150316749611</c:v>
                </c:pt>
                <c:pt idx="6">
                  <c:v>33.735834827265741</c:v>
                </c:pt>
                <c:pt idx="7">
                  <c:v>29.58818858526363</c:v>
                </c:pt>
                <c:pt idx="8">
                  <c:v>26.850921101800829</c:v>
                </c:pt>
                <c:pt idx="9">
                  <c:v>24.726573751307747</c:v>
                </c:pt>
                <c:pt idx="10">
                  <c:v>24.399679952011333</c:v>
                </c:pt>
                <c:pt idx="11">
                  <c:v>22.509281391445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D-564B-AA61-2FF09C6A6D8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3ED-564B-AA61-2FF09C6A6D89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3ED-564B-AA61-2FF09C6A6D89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3ED-564B-AA61-2FF09C6A6D89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3ED-564B-AA61-2FF09C6A6D89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3ED-564B-AA61-2FF09C6A6D89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3ED-564B-AA61-2FF09C6A6D89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3ED-564B-AA61-2FF09C6A6D89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3ED-564B-AA61-2FF09C6A6D89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3ED-564B-AA61-2FF09C6A6D89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3ED-564B-AA61-2FF09C6A6D89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3ED-564B-AA61-2FF09C6A6D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6.0307692307692289</c:v>
                </c:pt>
                <c:pt idx="2">
                  <c:v>11.534663243136478</c:v>
                </c:pt>
                <c:pt idx="3">
                  <c:v>16.714312940728039</c:v>
                </c:pt>
                <c:pt idx="4">
                  <c:v>20.721225710014945</c:v>
                </c:pt>
                <c:pt idx="5">
                  <c:v>23.947614593077649</c:v>
                </c:pt>
                <c:pt idx="6">
                  <c:v>26.576576576576581</c:v>
                </c:pt>
                <c:pt idx="7">
                  <c:v>29.788005073382863</c:v>
                </c:pt>
                <c:pt idx="8">
                  <c:v>32.927702219040796</c:v>
                </c:pt>
                <c:pt idx="9">
                  <c:v>35.499092558983669</c:v>
                </c:pt>
                <c:pt idx="10">
                  <c:v>36.682464454976305</c:v>
                </c:pt>
                <c:pt idx="11">
                  <c:v>37.136307529536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3ED-564B-AA61-2FF09C6A6D89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2.0704375667022434</c:v>
                </c:pt>
                <c:pt idx="1">
                  <c:v>2.030769230769236</c:v>
                </c:pt>
                <c:pt idx="2">
                  <c:v>2.172624925933242</c:v>
                </c:pt>
                <c:pt idx="3">
                  <c:v>1.8677339432056406</c:v>
                </c:pt>
                <c:pt idx="4">
                  <c:v>1.9618834080717518</c:v>
                </c:pt>
                <c:pt idx="5">
                  <c:v>1.8896164639850221</c:v>
                </c:pt>
                <c:pt idx="6">
                  <c:v>1.2199699699699806</c:v>
                </c:pt>
                <c:pt idx="7">
                  <c:v>2.1561877151657916</c:v>
                </c:pt>
                <c:pt idx="8">
                  <c:v>1.7537580529706553</c:v>
                </c:pt>
                <c:pt idx="9">
                  <c:v>1.3067150635208691</c:v>
                </c:pt>
                <c:pt idx="10">
                  <c:v>0.45023696682464642</c:v>
                </c:pt>
                <c:pt idx="11">
                  <c:v>1.8867924528301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3ED-564B-AA61-2FF09C6A6D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1255360"/>
        <c:axId val="1"/>
      </c:areaChart>
      <c:catAx>
        <c:axId val="1181255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1.53238137381228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8125536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34139784946236E-2"/>
          <c:y val="6.2780269058295965E-2"/>
          <c:w val="0.90692204301075274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9569892473118281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725-2A46-A6D3-C26B8282DB37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725-2A46-A6D3-C26B8282DB37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725-2A46-A6D3-C26B8282DB37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725-2A46-A6D3-C26B8282DB37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725-2A46-A6D3-C26B8282DB37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725-2A46-A6D3-C26B8282DB37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725-2A46-A6D3-C26B8282DB37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725-2A46-A6D3-C26B8282DB37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725-2A46-A6D3-C26B8282DB37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725-2A46-A6D3-C26B8282DB37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725-2A46-A6D3-C26B8282DB37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725-2A46-A6D3-C26B8282DB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0553</c:v>
                </c:pt>
                <c:pt idx="1">
                  <c:v>10000</c:v>
                </c:pt>
                <c:pt idx="2">
                  <c:v>10100</c:v>
                </c:pt>
                <c:pt idx="3">
                  <c:v>9473</c:v>
                </c:pt>
                <c:pt idx="4">
                  <c:v>8670</c:v>
                </c:pt>
                <c:pt idx="5">
                  <c:v>8541</c:v>
                </c:pt>
                <c:pt idx="6">
                  <c:v>7783</c:v>
                </c:pt>
                <c:pt idx="7">
                  <c:v>8145</c:v>
                </c:pt>
                <c:pt idx="8">
                  <c:v>8060</c:v>
                </c:pt>
                <c:pt idx="9">
                  <c:v>7691</c:v>
                </c:pt>
                <c:pt idx="10">
                  <c:v>5810</c:v>
                </c:pt>
                <c:pt idx="11">
                  <c:v>7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725-2A46-A6D3-C26B8282DB3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725-2A46-A6D3-C26B8282DB37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725-2A46-A6D3-C26B8282DB37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725-2A46-A6D3-C26B8282DB37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725-2A46-A6D3-C26B8282DB37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2725-2A46-A6D3-C26B8282DB37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725-2A46-A6D3-C26B8282DB37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725-2A46-A6D3-C26B8282DB37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725-2A46-A6D3-C26B8282DB37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725-2A46-A6D3-C26B8282DB37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2725-2A46-A6D3-C26B8282DB37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2725-2A46-A6D3-C26B8282DB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919</c:v>
                </c:pt>
                <c:pt idx="2">
                  <c:v>1930</c:v>
                </c:pt>
                <c:pt idx="3">
                  <c:v>2925</c:v>
                </c:pt>
                <c:pt idx="4">
                  <c:v>3635</c:v>
                </c:pt>
                <c:pt idx="5">
                  <c:v>4138</c:v>
                </c:pt>
                <c:pt idx="6">
                  <c:v>4495</c:v>
                </c:pt>
                <c:pt idx="7">
                  <c:v>5303</c:v>
                </c:pt>
                <c:pt idx="8">
                  <c:v>5999</c:v>
                </c:pt>
                <c:pt idx="9">
                  <c:v>6510</c:v>
                </c:pt>
                <c:pt idx="10">
                  <c:v>5779</c:v>
                </c:pt>
                <c:pt idx="11">
                  <c:v>8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725-2A46-A6D3-C26B8282DB37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351</c:v>
                </c:pt>
                <c:pt idx="1">
                  <c:v>332</c:v>
                </c:pt>
                <c:pt idx="2">
                  <c:v>470</c:v>
                </c:pt>
                <c:pt idx="3">
                  <c:v>373</c:v>
                </c:pt>
                <c:pt idx="4">
                  <c:v>304</c:v>
                </c:pt>
                <c:pt idx="5">
                  <c:v>273</c:v>
                </c:pt>
                <c:pt idx="6">
                  <c:v>196</c:v>
                </c:pt>
                <c:pt idx="7">
                  <c:v>301</c:v>
                </c:pt>
                <c:pt idx="8">
                  <c:v>312</c:v>
                </c:pt>
                <c:pt idx="9">
                  <c:v>276</c:v>
                </c:pt>
                <c:pt idx="10">
                  <c:v>122</c:v>
                </c:pt>
                <c:pt idx="11">
                  <c:v>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725-2A46-A6D3-C26B8282DB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7278719"/>
        <c:axId val="1"/>
      </c:areaChart>
      <c:catAx>
        <c:axId val="897278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897278719"/>
        <c:crosses val="min"/>
        <c:crossBetween val="midCat"/>
        <c:majorUnit val="2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0828153871997E-2"/>
          <c:y val="6.2780269058295965E-2"/>
          <c:w val="0.9030740802956492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0997816227112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029-5D4D-A3DD-763E459D9AC7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029-5D4D-A3DD-763E459D9AC7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029-5D4D-A3DD-763E459D9AC7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029-5D4D-A3DD-763E459D9AC7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029-5D4D-A3DD-763E459D9AC7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029-5D4D-A3DD-763E459D9AC7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029-5D4D-A3DD-763E459D9AC7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029-5D4D-A3DD-763E459D9AC7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029-5D4D-A3DD-763E459D9AC7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029-5D4D-A3DD-763E459D9AC7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029-5D4D-A3DD-763E459D9AC7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029-5D4D-A3DD-763E459D9A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6.780997798972862</c:v>
                </c:pt>
                <c:pt idx="1">
                  <c:v>88.880988356590535</c:v>
                </c:pt>
                <c:pt idx="2">
                  <c:v>80.800000000000011</c:v>
                </c:pt>
                <c:pt idx="3">
                  <c:v>74.175867199123019</c:v>
                </c:pt>
                <c:pt idx="4">
                  <c:v>68.760409231501313</c:v>
                </c:pt>
                <c:pt idx="5">
                  <c:v>65.94348363187153</c:v>
                </c:pt>
                <c:pt idx="6">
                  <c:v>62.393779060445731</c:v>
                </c:pt>
                <c:pt idx="7">
                  <c:v>59.240672048876284</c:v>
                </c:pt>
                <c:pt idx="8">
                  <c:v>56.085171525989843</c:v>
                </c:pt>
                <c:pt idx="9">
                  <c:v>53.12564757891829</c:v>
                </c:pt>
                <c:pt idx="10">
                  <c:v>49.611476389719066</c:v>
                </c:pt>
                <c:pt idx="11">
                  <c:v>46.752064108790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029-5D4D-A3DD-763E459D9AC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029-5D4D-A3DD-763E459D9AC7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029-5D4D-A3DD-763E459D9AC7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C029-5D4D-A3DD-763E459D9AC7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029-5D4D-A3DD-763E459D9AC7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029-5D4D-A3DD-763E459D9AC7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029-5D4D-A3DD-763E459D9AC7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C029-5D4D-A3DD-763E459D9AC7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C029-5D4D-A3DD-763E459D9AC7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C029-5D4D-A3DD-763E459D9AC7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C029-5D4D-A3DD-763E459D9AC7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C029-5D4D-A3DD-763E459D9A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8.1681628299706706</c:v>
                </c:pt>
                <c:pt idx="2">
                  <c:v>15.439999999999998</c:v>
                </c:pt>
                <c:pt idx="3">
                  <c:v>22.903453136011276</c:v>
                </c:pt>
                <c:pt idx="4">
                  <c:v>28.828614481719406</c:v>
                </c:pt>
                <c:pt idx="5">
                  <c:v>31.948733786287832</c:v>
                </c:pt>
                <c:pt idx="6">
                  <c:v>36.034952701619375</c:v>
                </c:pt>
                <c:pt idx="7">
                  <c:v>38.570077823841743</c:v>
                </c:pt>
                <c:pt idx="8">
                  <c:v>41.743789576229908</c:v>
                </c:pt>
                <c:pt idx="9">
                  <c:v>44.967880085653114</c:v>
                </c:pt>
                <c:pt idx="10">
                  <c:v>49.346767995901288</c:v>
                </c:pt>
                <c:pt idx="11">
                  <c:v>49.787518212724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029-5D4D-A3DD-763E459D9AC7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029-5D4D-A3DD-763E459D9A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3.2190022010271435</c:v>
                </c:pt>
                <c:pt idx="1">
                  <c:v>2.9508488134388</c:v>
                </c:pt>
                <c:pt idx="2">
                  <c:v>3.7599999999999967</c:v>
                </c:pt>
                <c:pt idx="3">
                  <c:v>2.9206796648657107</c:v>
                </c:pt>
                <c:pt idx="4">
                  <c:v>2.4109762867792872</c:v>
                </c:pt>
                <c:pt idx="5">
                  <c:v>2.1077825818406448</c:v>
                </c:pt>
                <c:pt idx="6">
                  <c:v>1.5712682379348974</c:v>
                </c:pt>
                <c:pt idx="7">
                  <c:v>2.1892501272819942</c:v>
                </c:pt>
                <c:pt idx="8">
                  <c:v>2.1710388977802531</c:v>
                </c:pt>
                <c:pt idx="9">
                  <c:v>1.9064723354286217</c:v>
                </c:pt>
                <c:pt idx="10">
                  <c:v>1.0417556143796469</c:v>
                </c:pt>
                <c:pt idx="11">
                  <c:v>3.4604176784847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C029-5D4D-A3DD-763E459D9A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1725200"/>
        <c:axId val="1"/>
      </c:areaChart>
      <c:catAx>
        <c:axId val="1181725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&quot;%&quot;;&quot;-&quot;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81725200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5792024675039E-2"/>
          <c:y val="3.3827442037248197E-2"/>
          <c:w val="0.91958581185283106"/>
          <c:h val="0.932345115925503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  <c:pt idx="4">
                  <c:v>6855</c:v>
                </c:pt>
                <c:pt idx="5">
                  <c:v>3736</c:v>
                </c:pt>
                <c:pt idx="6">
                  <c:v>1507.14</c:v>
                </c:pt>
                <c:pt idx="7">
                  <c:v>1557.51</c:v>
                </c:pt>
                <c:pt idx="8">
                  <c:v>1696.83</c:v>
                </c:pt>
                <c:pt idx="9">
                  <c:v>1518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C1-8C48-8BFB-A88AFFCF6E3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  <c:pt idx="4">
                  <c:v>3466</c:v>
                </c:pt>
                <c:pt idx="5">
                  <c:v>1571</c:v>
                </c:pt>
                <c:pt idx="6">
                  <c:v>665.97</c:v>
                </c:pt>
                <c:pt idx="7">
                  <c:v>862.12000000000012</c:v>
                </c:pt>
                <c:pt idx="8">
                  <c:v>1092.94</c:v>
                </c:pt>
                <c:pt idx="9">
                  <c:v>643.62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C1-8C48-8BFB-A88AFFCF6E3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  <c:pt idx="4">
                  <c:v>199</c:v>
                </c:pt>
                <c:pt idx="5">
                  <c:v>109</c:v>
                </c:pt>
                <c:pt idx="6">
                  <c:v>47.869999999999891</c:v>
                </c:pt>
                <c:pt idx="7">
                  <c:v>50.110000000000127</c:v>
                </c:pt>
                <c:pt idx="8">
                  <c:v>43.829999999999927</c:v>
                </c:pt>
                <c:pt idx="9">
                  <c:v>45.909999999999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C1-8C48-8BFB-A88AFFCF6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0404800"/>
        <c:axId val="1"/>
      </c:areaChart>
      <c:catAx>
        <c:axId val="580404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9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80404800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A1-634E-B551-40837FD4E38F}"/>
            </c:ext>
          </c:extLst>
        </c:ser>
        <c:ser>
          <c:idx val="1"/>
          <c:order val="1"/>
          <c:spPr>
            <a:solidFill>
              <a:srgbClr val="4975C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A1-634E-B551-40837FD4E38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A1-634E-B551-40837FD4E38F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A1-634E-B551-40837FD4E3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0390864"/>
        <c:axId val="1"/>
      </c:areaChart>
      <c:catAx>
        <c:axId val="580390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8039086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59.89999999999998</c:v>
                </c:pt>
                <c:pt idx="1">
                  <c:v>725.4</c:v>
                </c:pt>
                <c:pt idx="2">
                  <c:v>634.20000000000005</c:v>
                </c:pt>
                <c:pt idx="3">
                  <c:v>26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62-3E47-8EB8-4FAF2A6EC0C7}"/>
            </c:ext>
          </c:extLst>
        </c:ser>
        <c:ser>
          <c:idx val="1"/>
          <c:order val="1"/>
          <c:spPr>
            <a:solidFill>
              <a:srgbClr val="4873C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189</c:v>
                </c:pt>
                <c:pt idx="1">
                  <c:v>8885</c:v>
                </c:pt>
                <c:pt idx="2">
                  <c:v>7878.0000000000009</c:v>
                </c:pt>
                <c:pt idx="3">
                  <c:v>4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62-3E47-8EB8-4FAF2A6EC0C7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2</c:v>
                </c:pt>
                <c:pt idx="1">
                  <c:v>771</c:v>
                </c:pt>
                <c:pt idx="2">
                  <c:v>603</c:v>
                </c:pt>
                <c:pt idx="3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62-3E47-8EB8-4FAF2A6EC0C7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437</c:v>
                </c:pt>
                <c:pt idx="1">
                  <c:v>1709</c:v>
                </c:pt>
                <c:pt idx="2">
                  <c:v>1400</c:v>
                </c:pt>
                <c:pt idx="3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E62-3E47-8EB8-4FAF2A6EC0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9840304"/>
        <c:axId val="1"/>
      </c:areaChart>
      <c:catAx>
        <c:axId val="469840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90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984030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890510948905105E-3"/>
          <c:y val="6.2780269058295965E-2"/>
          <c:w val="0.9810218978102189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28.330541510957673</c:v>
                </c:pt>
                <c:pt idx="1">
                  <c:v>25.476397978111308</c:v>
                </c:pt>
                <c:pt idx="2">
                  <c:v>21.902019214268599</c:v>
                </c:pt>
                <c:pt idx="3">
                  <c:v>20.64889785476479</c:v>
                </c:pt>
                <c:pt idx="4">
                  <c:v>19.267487164884457</c:v>
                </c:pt>
                <c:pt idx="5">
                  <c:v>17.206774310865235</c:v>
                </c:pt>
                <c:pt idx="6">
                  <c:v>15.548127686423395</c:v>
                </c:pt>
                <c:pt idx="7">
                  <c:v>12.902834187178581</c:v>
                </c:pt>
                <c:pt idx="8">
                  <c:v>10.273679890078657</c:v>
                </c:pt>
                <c:pt idx="9">
                  <c:v>6.2800187603248903</c:v>
                </c:pt>
                <c:pt idx="10">
                  <c:v>12.309093357434042</c:v>
                </c:pt>
                <c:pt idx="11">
                  <c:v>8.5599952682855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73-5549-BB1E-0FBA5FEDE6A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73-5549-BB1E-0FBA5FEDE6AF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73-5549-BB1E-0FBA5FEDE6AF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A73-5549-BB1E-0FBA5FEDE6AF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A73-5549-BB1E-0FBA5FEDE6AF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A73-5549-BB1E-0FBA5FEDE6AF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A73-5549-BB1E-0FBA5FEDE6AF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A73-5549-BB1E-0FBA5FEDE6AF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A73-5549-BB1E-0FBA5FEDE6AF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A73-5549-BB1E-0FBA5FEDE6AF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A73-5549-BB1E-0FBA5FEDE6AF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A73-5549-BB1E-0FBA5FEDE6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3.1699225949133769</c:v>
                </c:pt>
                <c:pt idx="2">
                  <c:v>6.3659058487874454</c:v>
                </c:pt>
                <c:pt idx="3">
                  <c:v>8.8348058009668264</c:v>
                </c:pt>
                <c:pt idx="4">
                  <c:v>10.272536687631028</c:v>
                </c:pt>
                <c:pt idx="5">
                  <c:v>11.134119146224908</c:v>
                </c:pt>
                <c:pt idx="6">
                  <c:v>13.643178410794599</c:v>
                </c:pt>
                <c:pt idx="7">
                  <c:v>14.645839777296633</c:v>
                </c:pt>
                <c:pt idx="8">
                  <c:v>15.370654753594859</c:v>
                </c:pt>
                <c:pt idx="9">
                  <c:v>16.241900647948171</c:v>
                </c:pt>
                <c:pt idx="10">
                  <c:v>18.692307692307697</c:v>
                </c:pt>
                <c:pt idx="11">
                  <c:v>18.004078205589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A73-5549-BB1E-0FBA5FEDE6AF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0"/>
              <c:layout>
                <c:manualLayout>
                  <c:x val="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A73-5549-BB1E-0FBA5FEDE6AF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A73-5549-BB1E-0FBA5FEDE6AF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A73-5549-BB1E-0FBA5FEDE6AF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A73-5549-BB1E-0FBA5FEDE6AF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A73-5549-BB1E-0FBA5FEDE6AF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A73-5549-BB1E-0FBA5FEDE6AF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A73-5549-BB1E-0FBA5FEDE6AF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A73-5549-BB1E-0FBA5FEDE6AF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A73-5549-BB1E-0FBA5FEDE6AF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A73-5549-BB1E-0FBA5FEDE6AF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A73-5549-BB1E-0FBA5FEDE6AF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DA73-5549-BB1E-0FBA5FEDE6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7.3375262054507289</c:v>
                </c:pt>
                <c:pt idx="1">
                  <c:v>7.0217471433837053</c:v>
                </c:pt>
                <c:pt idx="2">
                  <c:v>7.4001426533523595</c:v>
                </c:pt>
                <c:pt idx="3">
                  <c:v>6.1843640606767831</c:v>
                </c:pt>
                <c:pt idx="4">
                  <c:v>6.128043863892918</c:v>
                </c:pt>
                <c:pt idx="5">
                  <c:v>7.3271742593182587</c:v>
                </c:pt>
                <c:pt idx="6">
                  <c:v>6.4767616191904072</c:v>
                </c:pt>
                <c:pt idx="7">
                  <c:v>8.11939375193319</c:v>
                </c:pt>
                <c:pt idx="8">
                  <c:v>10.023733072734887</c:v>
                </c:pt>
                <c:pt idx="9">
                  <c:v>13.146148308135341</c:v>
                </c:pt>
                <c:pt idx="10">
                  <c:v>4.6666666666666634</c:v>
                </c:pt>
                <c:pt idx="11">
                  <c:v>9.1039942425332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A73-5549-BB1E-0FBA5FEDE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53384368"/>
        <c:axId val="1"/>
      </c:areaChart>
      <c:catAx>
        <c:axId val="953384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.6680677164084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5338436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2.5</c:v>
                </c:pt>
                <c:pt idx="1">
                  <c:v>289.10000000000002</c:v>
                </c:pt>
                <c:pt idx="2">
                  <c:v>65.099999999999994</c:v>
                </c:pt>
                <c:pt idx="3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38-0D44-B433-F0EF706633E8}"/>
            </c:ext>
          </c:extLst>
        </c:ser>
        <c:ser>
          <c:idx val="1"/>
          <c:order val="1"/>
          <c:spPr>
            <a:solidFill>
              <a:srgbClr val="4A76C6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808.33</c:v>
                </c:pt>
                <c:pt idx="1">
                  <c:v>1797.94</c:v>
                </c:pt>
                <c:pt idx="2">
                  <c:v>1930.48</c:v>
                </c:pt>
                <c:pt idx="3">
                  <c:v>184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38-0D44-B433-F0EF706633E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91.71000000000004</c:v>
                </c:pt>
                <c:pt idx="1">
                  <c:v>159.42999999999984</c:v>
                </c:pt>
                <c:pt idx="2">
                  <c:v>70.130000000000109</c:v>
                </c:pt>
                <c:pt idx="3">
                  <c:v>120.4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38-0D44-B433-F0EF706633E8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85.61000000000013</c:v>
                </c:pt>
                <c:pt idx="1">
                  <c:v>584.69000000000005</c:v>
                </c:pt>
                <c:pt idx="2">
                  <c:v>139.38999999999987</c:v>
                </c:pt>
                <c:pt idx="3">
                  <c:v>156.57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38-0D44-B433-F0EF70663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8357488"/>
        <c:axId val="1"/>
      </c:areaChart>
      <c:catAx>
        <c:axId val="61835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1.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835748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E9163C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41.534422306784748</c:v>
                </c:pt>
                <c:pt idx="1">
                  <c:v>44.741039338424081</c:v>
                </c:pt>
                <c:pt idx="2">
                  <c:v>49.461709087650107</c:v>
                </c:pt>
                <c:pt idx="3">
                  <c:v>29.93</c:v>
                </c:pt>
                <c:pt idx="4">
                  <c:v>-8.3749845463697348</c:v>
                </c:pt>
                <c:pt idx="5">
                  <c:v>52.623805496294992</c:v>
                </c:pt>
                <c:pt idx="6">
                  <c:v>45.985644670896455</c:v>
                </c:pt>
                <c:pt idx="7">
                  <c:v>30.86999999999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EDB-7A4D-83EE-F96B3EBC1708}"/>
            </c:ext>
          </c:extLst>
        </c:ser>
        <c:ser>
          <c:idx val="1"/>
          <c:order val="1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24.59194776931448</c:v>
                </c:pt>
                <c:pt idx="1">
                  <c:v>30.385288966725057</c:v>
                </c:pt>
                <c:pt idx="2">
                  <c:v>103.22043309272627</c:v>
                </c:pt>
                <c:pt idx="3">
                  <c:v>46.85</c:v>
                </c:pt>
                <c:pt idx="4">
                  <c:v>-25.042881646655236</c:v>
                </c:pt>
                <c:pt idx="5">
                  <c:v>107.90754257907543</c:v>
                </c:pt>
                <c:pt idx="6">
                  <c:v>70.94017094017093</c:v>
                </c:pt>
                <c:pt idx="7">
                  <c:v>-8.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EDB-7A4D-83EE-F96B3EBC1708}"/>
            </c:ext>
          </c:extLst>
        </c:ser>
        <c:ser>
          <c:idx val="2"/>
          <c:order val="2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72.969543147208114</c:v>
                </c:pt>
                <c:pt idx="1">
                  <c:v>57.270693512304248</c:v>
                </c:pt>
                <c:pt idx="2">
                  <c:v>15.095729013254777</c:v>
                </c:pt>
                <c:pt idx="3">
                  <c:v>64.180000000000007</c:v>
                </c:pt>
                <c:pt idx="4">
                  <c:v>-31.36363636363636</c:v>
                </c:pt>
                <c:pt idx="5">
                  <c:v>33.3910034602076</c:v>
                </c:pt>
                <c:pt idx="6">
                  <c:v>69.382022471910119</c:v>
                </c:pt>
                <c:pt idx="7">
                  <c:v>50.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EDB-7A4D-83EE-F96B3EBC1708}"/>
            </c:ext>
          </c:extLst>
        </c:ser>
        <c:ser>
          <c:idx val="3"/>
          <c:order val="3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7.09446254071662</c:v>
                </c:pt>
                <c:pt idx="1">
                  <c:v>39.657135203910812</c:v>
                </c:pt>
                <c:pt idx="2">
                  <c:v>36.208427234856245</c:v>
                </c:pt>
                <c:pt idx="3">
                  <c:v>29.93</c:v>
                </c:pt>
                <c:pt idx="4">
                  <c:v>-9.2110966623320305</c:v>
                </c:pt>
                <c:pt idx="5">
                  <c:v>36.692307692307693</c:v>
                </c:pt>
                <c:pt idx="6">
                  <c:v>31.783205085312805</c:v>
                </c:pt>
                <c:pt idx="7">
                  <c:v>26.8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2EDB-7A4D-83EE-F96B3EBC17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2929248"/>
        <c:axId val="1"/>
      </c:lineChart>
      <c:catAx>
        <c:axId val="59292924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7.90754257907543"/>
          <c:min val="-31.36363636363636"/>
        </c:scaling>
        <c:delete val="1"/>
        <c:axPos val="l"/>
        <c:numFmt formatCode="General" sourceLinked="1"/>
        <c:majorTickMark val="out"/>
        <c:minorTickMark val="none"/>
        <c:tickLblPos val="nextTo"/>
        <c:crossAx val="592929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88-7648-A533-10268A68597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88-7648-A533-10268A685972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88-7648-A533-10268A68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1180335"/>
        <c:axId val="1"/>
      </c:areaChart>
      <c:catAx>
        <c:axId val="731180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11803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1F-2143-859B-47138221201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1F-2143-859B-47138221201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1F-2143-859B-471382212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4378031"/>
        <c:axId val="1"/>
      </c:areaChart>
      <c:catAx>
        <c:axId val="1014378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1437803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76-6048-ABB8-12C49E9CEAC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76-6048-ABB8-12C49E9CEAC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76-6048-ABB8-12C49E9CE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1365135"/>
        <c:axId val="1"/>
      </c:areaChart>
      <c:catAx>
        <c:axId val="731365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13651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798424809254246E-2"/>
          <c:y val="3.4482758620689655E-2"/>
          <c:w val="0.9744031503814915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2D7-1541-B1FE-E61B7607D4F1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2D7-1541-B1FE-E61B7607D4F1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2D7-1541-B1FE-E61B7607D4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7665088"/>
        <c:axId val="1"/>
      </c:lineChart>
      <c:catAx>
        <c:axId val="57766508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7665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A2-864C-80F9-87F73CB3215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A2-864C-80F9-87F73CB3215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A2-864C-80F9-87F73CB32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0194223"/>
        <c:axId val="1"/>
      </c:areaChart>
      <c:catAx>
        <c:axId val="171019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019422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96-8C48-A3DF-DC56C459722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96-8C48-A3DF-DC56C459722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96-8C48-A3DF-DC56C4597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8217503"/>
        <c:axId val="1"/>
      </c:areaChart>
      <c:catAx>
        <c:axId val="1528217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821750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99-CB49-AF52-5348BA0B422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99-CB49-AF52-5348BA0B422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99-CB49-AF52-5348BA0B4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296991"/>
        <c:axId val="1"/>
      </c:areaChart>
      <c:catAx>
        <c:axId val="1703296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29699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34247089748404E-3"/>
          <c:y val="3.4482758620689655E-2"/>
          <c:w val="0.98047315058205031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EB-8B4B-8270-7084757C0052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EB-8B4B-8270-7084757C0052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EB-8B4B-8270-7084757C0052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41.549022864418973</c:v>
                </c:pt>
                <c:pt idx="1">
                  <c:v>44.844150881598345</c:v>
                </c:pt>
                <c:pt idx="2">
                  <c:v>49.487825356842997</c:v>
                </c:pt>
                <c:pt idx="3">
                  <c:v>40.300000000000004</c:v>
                </c:pt>
                <c:pt idx="4">
                  <c:v>-8.3818598905946669</c:v>
                </c:pt>
                <c:pt idx="5">
                  <c:v>52.662124653040635</c:v>
                </c:pt>
                <c:pt idx="6">
                  <c:v>45.969196614402662</c:v>
                </c:pt>
                <c:pt idx="7">
                  <c:v>3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EB-8B4B-8270-7084757C00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450320"/>
        <c:axId val="1"/>
      </c:lineChart>
      <c:catAx>
        <c:axId val="5734503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345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64784946236562E-2"/>
          <c:y val="6.2780269058295965E-2"/>
          <c:w val="0.9164986559139785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5537634408602152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E28-9841-9C1C-7E9780F29B54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E28-9841-9C1C-7E9780F29B54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E28-9841-9C1C-7E9780F29B54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E28-9841-9C1C-7E9780F29B54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E28-9841-9C1C-7E9780F29B54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E28-9841-9C1C-7E9780F29B54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E28-9841-9C1C-7E9780F29B54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E28-9841-9C1C-7E9780F29B54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E28-9841-9C1C-7E9780F29B54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E28-9841-9C1C-7E9780F29B54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E28-9841-9C1C-7E9780F29B54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E28-9841-9C1C-7E9780F29B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386</c:v>
                </c:pt>
                <c:pt idx="1">
                  <c:v>1469</c:v>
                </c:pt>
                <c:pt idx="2">
                  <c:v>1602</c:v>
                </c:pt>
                <c:pt idx="3">
                  <c:v>1659</c:v>
                </c:pt>
                <c:pt idx="4">
                  <c:v>1240</c:v>
                </c:pt>
                <c:pt idx="5">
                  <c:v>1266</c:v>
                </c:pt>
                <c:pt idx="6">
                  <c:v>996</c:v>
                </c:pt>
                <c:pt idx="7">
                  <c:v>1043</c:v>
                </c:pt>
                <c:pt idx="8">
                  <c:v>1280</c:v>
                </c:pt>
                <c:pt idx="9">
                  <c:v>1220</c:v>
                </c:pt>
                <c:pt idx="10">
                  <c:v>669</c:v>
                </c:pt>
                <c:pt idx="11">
                  <c:v>1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E28-9841-9C1C-7E9780F29B5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E28-9841-9C1C-7E9780F29B54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E28-9841-9C1C-7E9780F29B54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E28-9841-9C1C-7E9780F29B54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E28-9841-9C1C-7E9780F29B54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E28-9841-9C1C-7E9780F29B54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E28-9841-9C1C-7E9780F29B54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E28-9841-9C1C-7E9780F29B54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E28-9841-9C1C-7E9780F29B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113</c:v>
                </c:pt>
                <c:pt idx="2">
                  <c:v>247</c:v>
                </c:pt>
                <c:pt idx="3">
                  <c:v>392</c:v>
                </c:pt>
                <c:pt idx="4">
                  <c:v>360</c:v>
                </c:pt>
                <c:pt idx="5">
                  <c:v>408</c:v>
                </c:pt>
                <c:pt idx="6">
                  <c:v>419</c:v>
                </c:pt>
                <c:pt idx="7">
                  <c:v>442</c:v>
                </c:pt>
                <c:pt idx="8">
                  <c:v>520</c:v>
                </c:pt>
                <c:pt idx="9">
                  <c:v>575</c:v>
                </c:pt>
                <c:pt idx="10">
                  <c:v>363</c:v>
                </c:pt>
                <c:pt idx="11">
                  <c:v>1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0E28-9841-9C1C-7E9780F29B54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0"/>
              <c:layout>
                <c:manualLayout>
                  <c:x val="1.9321236559139785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E28-9841-9C1C-7E9780F29B54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0E28-9841-9C1C-7E9780F29B54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0E28-9841-9C1C-7E9780F29B54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0E28-9841-9C1C-7E9780F29B54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0E28-9841-9C1C-7E9780F29B54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0E28-9841-9C1C-7E9780F29B54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0E28-9841-9C1C-7E9780F29B54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0E28-9841-9C1C-7E9780F29B54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0E28-9841-9C1C-7E9780F29B54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0E28-9841-9C1C-7E9780F29B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485</c:v>
                </c:pt>
                <c:pt idx="1">
                  <c:v>416</c:v>
                </c:pt>
                <c:pt idx="2">
                  <c:v>561</c:v>
                </c:pt>
                <c:pt idx="3">
                  <c:v>484</c:v>
                </c:pt>
                <c:pt idx="4">
                  <c:v>389</c:v>
                </c:pt>
                <c:pt idx="5">
                  <c:v>463</c:v>
                </c:pt>
                <c:pt idx="6">
                  <c:v>450</c:v>
                </c:pt>
                <c:pt idx="7">
                  <c:v>511</c:v>
                </c:pt>
                <c:pt idx="8">
                  <c:v>546</c:v>
                </c:pt>
                <c:pt idx="9">
                  <c:v>666</c:v>
                </c:pt>
                <c:pt idx="10">
                  <c:v>270</c:v>
                </c:pt>
                <c:pt idx="11">
                  <c:v>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0E28-9841-9C1C-7E9780F29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7037375"/>
        <c:axId val="1"/>
      </c:areaChart>
      <c:catAx>
        <c:axId val="1207037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207037375"/>
        <c:crosses val="min"/>
        <c:crossBetween val="midCat"/>
        <c:majorUnit val="5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F1-2A4E-88C0-4AE5916A875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F1-2A4E-88C0-4AE5916A875A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F1-2A4E-88C0-4AE5916A8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0031839"/>
        <c:axId val="1"/>
      </c:areaChart>
      <c:catAx>
        <c:axId val="750031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003183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0E-B645-BC66-9072B60C01F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0E-B645-BC66-9072B60C01F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0E-B645-BC66-9072B60C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4663519"/>
        <c:axId val="1"/>
      </c:areaChart>
      <c:catAx>
        <c:axId val="964663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466351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D2-EE4C-BE09-2FD68DB35CF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D2-EE4C-BE09-2FD68DB35CF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D2-EE4C-BE09-2FD68DB35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3914863"/>
        <c:axId val="1"/>
      </c:areaChart>
      <c:catAx>
        <c:axId val="963914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391486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55-5340-9350-C012A614808F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55-5340-9350-C012A614808F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55-5340-9350-C012A614808F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A55-5340-9350-C012A6148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0026959"/>
        <c:axId val="1"/>
      </c:lineChart>
      <c:catAx>
        <c:axId val="171002695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1710026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946236559139782E-2"/>
          <c:y val="3.8518518518518521E-2"/>
          <c:w val="0.93010752688172038"/>
          <c:h val="0.9229629629629629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682</c:v>
                </c:pt>
                <c:pt idx="1">
                  <c:v>3110</c:v>
                </c:pt>
                <c:pt idx="2">
                  <c:v>3620</c:v>
                </c:pt>
                <c:pt idx="3">
                  <c:v>2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32-784B-9611-D7FC3C31B07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998</c:v>
                </c:pt>
                <c:pt idx="1">
                  <c:v>2709</c:v>
                </c:pt>
                <c:pt idx="2">
                  <c:v>3418</c:v>
                </c:pt>
                <c:pt idx="3">
                  <c:v>1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32-784B-9611-D7FC3C31B07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65</c:v>
                </c:pt>
                <c:pt idx="1">
                  <c:v>393</c:v>
                </c:pt>
                <c:pt idx="2">
                  <c:v>395</c:v>
                </c:pt>
                <c:pt idx="3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32-784B-9611-D7FC3C31B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315216"/>
        <c:axId val="1"/>
      </c:areaChart>
      <c:catAx>
        <c:axId val="47231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31521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61061946902654E-2"/>
          <c:y val="3.7142857142857144E-2"/>
          <c:w val="0.94247787610619471"/>
          <c:h val="0.9257142857142857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48</c:v>
                </c:pt>
                <c:pt idx="1">
                  <c:v>1787</c:v>
                </c:pt>
                <c:pt idx="2">
                  <c:v>1522</c:v>
                </c:pt>
                <c:pt idx="3">
                  <c:v>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E-CD49-8186-F2F530C5B63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576</c:v>
                </c:pt>
                <c:pt idx="1">
                  <c:v>1685</c:v>
                </c:pt>
                <c:pt idx="2">
                  <c:v>1123</c:v>
                </c:pt>
                <c:pt idx="3">
                  <c:v>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CE-CD49-8186-F2F530C5B63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8</c:v>
                </c:pt>
                <c:pt idx="1">
                  <c:v>194</c:v>
                </c:pt>
                <c:pt idx="2">
                  <c:v>169</c:v>
                </c:pt>
                <c:pt idx="3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CE-CD49-8186-F2F530C5B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495552"/>
        <c:axId val="1"/>
      </c:areaChart>
      <c:catAx>
        <c:axId val="472495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49555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4486975013291E-2"/>
          <c:y val="3.7463976945244955E-2"/>
          <c:w val="0.94471026049973417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89.76</c:v>
                </c:pt>
                <c:pt idx="1">
                  <c:v>313.79000000000002</c:v>
                </c:pt>
                <c:pt idx="2">
                  <c:v>289.42</c:v>
                </c:pt>
                <c:pt idx="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1C-B84D-800C-B2AB07314EE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61.29999999999995</c:v>
                </c:pt>
                <c:pt idx="1">
                  <c:v>309.08</c:v>
                </c:pt>
                <c:pt idx="2">
                  <c:v>232.00000000000006</c:v>
                </c:pt>
                <c:pt idx="3">
                  <c:v>239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1C-B84D-800C-B2AB07314EE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0.919999999999959</c:v>
                </c:pt>
                <c:pt idx="1">
                  <c:v>39.200000000000045</c:v>
                </c:pt>
                <c:pt idx="2">
                  <c:v>35.980000000000018</c:v>
                </c:pt>
                <c:pt idx="3">
                  <c:v>42.27999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1C-B84D-800C-B2AB07314E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6266880"/>
        <c:axId val="1"/>
      </c:areaChart>
      <c:catAx>
        <c:axId val="566266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97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626688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9714285714285714E-2"/>
          <c:w val="0.9798839458413926"/>
          <c:h val="0.9405714285714286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6.328502415458942</c:v>
                </c:pt>
                <c:pt idx="1">
                  <c:v>63.749999999999993</c:v>
                </c:pt>
                <c:pt idx="2">
                  <c:v>54.296875</c:v>
                </c:pt>
                <c:pt idx="3">
                  <c:v>65.900000000000006</c:v>
                </c:pt>
                <c:pt idx="4">
                  <c:v>-9.3023255813953547</c:v>
                </c:pt>
                <c:pt idx="5">
                  <c:v>67.241379310344811</c:v>
                </c:pt>
                <c:pt idx="6">
                  <c:v>62.5</c:v>
                </c:pt>
                <c:pt idx="7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01-C34C-B65E-F9C95B6EB8CA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9.468085106382972</c:v>
                </c:pt>
                <c:pt idx="1">
                  <c:v>48.846153846153854</c:v>
                </c:pt>
                <c:pt idx="2">
                  <c:v>69.796323894684548</c:v>
                </c:pt>
                <c:pt idx="3">
                  <c:v>23.1</c:v>
                </c:pt>
                <c:pt idx="4">
                  <c:v>-18.297872340425535</c:v>
                </c:pt>
                <c:pt idx="5">
                  <c:v>87.43047830923247</c:v>
                </c:pt>
                <c:pt idx="6">
                  <c:v>24.916573971078982</c:v>
                </c:pt>
                <c:pt idx="7">
                  <c:v>19.4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01-C34C-B65E-F9C95B6EB8CA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63.281596452328159</c:v>
                </c:pt>
                <c:pt idx="1">
                  <c:v>45.804031879981252</c:v>
                </c:pt>
                <c:pt idx="2">
                  <c:v>44.108280254777064</c:v>
                </c:pt>
                <c:pt idx="3">
                  <c:v>49.7</c:v>
                </c:pt>
                <c:pt idx="4">
                  <c:v>-27.27272727272727</c:v>
                </c:pt>
                <c:pt idx="5">
                  <c:v>61.719457013574662</c:v>
                </c:pt>
                <c:pt idx="6">
                  <c:v>57.720207253886002</c:v>
                </c:pt>
                <c:pt idx="7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01-C34C-B65E-F9C95B6EB8CA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01-C34C-B65E-F9C95B6EB8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6651584"/>
        <c:axId val="1"/>
      </c:lineChart>
      <c:catAx>
        <c:axId val="56665158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7.43047830923247"/>
          <c:min val="-27.27272727272727"/>
        </c:scaling>
        <c:delete val="1"/>
        <c:axPos val="l"/>
        <c:numFmt formatCode="General" sourceLinked="1"/>
        <c:majorTickMark val="out"/>
        <c:minorTickMark val="none"/>
        <c:tickLblPos val="nextTo"/>
        <c:crossAx val="56665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81791483113069E-2"/>
          <c:w val="0.9385342789598109"/>
          <c:h val="0.923641703377386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563.4</c:v>
                </c:pt>
                <c:pt idx="1">
                  <c:v>927.5</c:v>
                </c:pt>
                <c:pt idx="2">
                  <c:v>1129</c:v>
                </c:pt>
                <c:pt idx="3">
                  <c:v>78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5-2A4E-AE2E-C8548FD52A8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248.000000000002</c:v>
                </c:pt>
                <c:pt idx="1">
                  <c:v>17003</c:v>
                </c:pt>
                <c:pt idx="2">
                  <c:v>15386</c:v>
                </c:pt>
                <c:pt idx="3">
                  <c:v>9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5-2A4E-AE2E-C8548FD52A8E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660</c:v>
                </c:pt>
                <c:pt idx="1">
                  <c:v>826</c:v>
                </c:pt>
                <c:pt idx="2">
                  <c:v>910</c:v>
                </c:pt>
                <c:pt idx="3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35-2A4E-AE2E-C8548FD52A8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042</c:v>
                </c:pt>
                <c:pt idx="1">
                  <c:v>1554</c:v>
                </c:pt>
                <c:pt idx="2">
                  <c:v>1840</c:v>
                </c:pt>
                <c:pt idx="3">
                  <c:v>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35-2A4E-AE2E-C8548FD52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7595375"/>
        <c:axId val="1"/>
      </c:areaChart>
      <c:catAx>
        <c:axId val="1707595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10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75953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27195467422094E-2"/>
          <c:w val="0.93540372670807448"/>
          <c:h val="0.9263456090651558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82</c:v>
                </c:pt>
                <c:pt idx="1">
                  <c:v>597</c:v>
                </c:pt>
                <c:pt idx="2">
                  <c:v>560.4</c:v>
                </c:pt>
                <c:pt idx="3">
                  <c:v>2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C-434F-9347-BE3C2859209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3354</c:v>
                </c:pt>
                <c:pt idx="1">
                  <c:v>6565</c:v>
                </c:pt>
                <c:pt idx="2">
                  <c:v>6016</c:v>
                </c:pt>
                <c:pt idx="3">
                  <c:v>3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CC-434F-9347-BE3C2859209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74</c:v>
                </c:pt>
                <c:pt idx="1">
                  <c:v>481</c:v>
                </c:pt>
                <c:pt idx="2">
                  <c:v>292</c:v>
                </c:pt>
                <c:pt idx="3">
                  <c:v>116.9999999999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CC-434F-9347-BE3C2859209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79</c:v>
                </c:pt>
                <c:pt idx="1">
                  <c:v>786</c:v>
                </c:pt>
                <c:pt idx="2">
                  <c:v>834</c:v>
                </c:pt>
                <c:pt idx="3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CC-434F-9347-BE3C28592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029775"/>
        <c:axId val="1"/>
      </c:areaChart>
      <c:catAx>
        <c:axId val="1708029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0297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890510948905105E-3"/>
          <c:y val="6.2780269058295965E-2"/>
          <c:w val="0.9810218978102189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58.866092455035002</c:v>
                </c:pt>
                <c:pt idx="1">
                  <c:v>58.311582841198813</c:v>
                </c:pt>
                <c:pt idx="2">
                  <c:v>51.261088363318443</c:v>
                </c:pt>
                <c:pt idx="3">
                  <c:v>50.231846299923809</c:v>
                </c:pt>
                <c:pt idx="4">
                  <c:v>47.130945189972934</c:v>
                </c:pt>
                <c:pt idx="5">
                  <c:v>44.02998725403468</c:v>
                </c:pt>
                <c:pt idx="6">
                  <c:v>38.19288505494071</c:v>
                </c:pt>
                <c:pt idx="7">
                  <c:v>37.042568335711373</c:v>
                </c:pt>
                <c:pt idx="8">
                  <c:v>39.349014134384589</c:v>
                </c:pt>
                <c:pt idx="9">
                  <c:v>34.36140348671227</c:v>
                </c:pt>
                <c:pt idx="10">
                  <c:v>36.170547796937974</c:v>
                </c:pt>
                <c:pt idx="11">
                  <c:v>29.1685417738156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BB-ED40-A045-3ED96372BF1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1BB-ED40-A045-3ED96372BF18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1BB-ED40-A045-3ED96372BF18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1BB-ED40-A045-3ED96372BF18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1BB-ED40-A045-3ED96372BF18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1BB-ED40-A045-3ED96372BF18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1BB-ED40-A045-3ED96372BF18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1BB-ED40-A045-3ED96372BF18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1BB-ED40-A045-3ED96372BF18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1BB-ED40-A045-3ED96372BF18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1BB-ED40-A045-3ED96372BF18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1BB-ED40-A045-3ED96372BF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5.655655655655667</c:v>
                </c:pt>
                <c:pt idx="2">
                  <c:v>10.248962655601668</c:v>
                </c:pt>
                <c:pt idx="3">
                  <c:v>15.46351084812625</c:v>
                </c:pt>
                <c:pt idx="4">
                  <c:v>18.099547511312224</c:v>
                </c:pt>
                <c:pt idx="5">
                  <c:v>19.092185306504454</c:v>
                </c:pt>
                <c:pt idx="6">
                  <c:v>22.466487935656847</c:v>
                </c:pt>
                <c:pt idx="7">
                  <c:v>22.14428857715432</c:v>
                </c:pt>
                <c:pt idx="8">
                  <c:v>22.165387894288141</c:v>
                </c:pt>
                <c:pt idx="9">
                  <c:v>23.364485981308412</c:v>
                </c:pt>
                <c:pt idx="10">
                  <c:v>27.880184331797249</c:v>
                </c:pt>
                <c:pt idx="11">
                  <c:v>28.399122807017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1BB-ED40-A045-3ED96372BF18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0"/>
              <c:layout>
                <c:manualLayout>
                  <c:x val="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1BB-ED40-A045-3ED96372BF18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1BB-ED40-A045-3ED96372BF18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1BB-ED40-A045-3ED96372BF18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1BB-ED40-A045-3ED96372BF18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1BB-ED40-A045-3ED96372BF18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1BB-ED40-A045-3ED96372BF18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1BB-ED40-A045-3ED96372BF18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1BB-ED40-A045-3ED96372BF18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1BB-ED40-A045-3ED96372BF18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1BB-ED40-A045-3ED96372BF18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1BB-ED40-A045-3ED96372BF18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1BB-ED40-A045-3ED96372BF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25.9219668626403</c:v>
                </c:pt>
                <c:pt idx="1">
                  <c:v>20.820820820820817</c:v>
                </c:pt>
                <c:pt idx="2">
                  <c:v>23.278008298755193</c:v>
                </c:pt>
                <c:pt idx="3">
                  <c:v>19.092702169625241</c:v>
                </c:pt>
                <c:pt idx="4">
                  <c:v>19.557566616390144</c:v>
                </c:pt>
                <c:pt idx="5">
                  <c:v>21.665886757136164</c:v>
                </c:pt>
                <c:pt idx="6">
                  <c:v>24.128686327077741</c:v>
                </c:pt>
                <c:pt idx="7">
                  <c:v>25.601202404809609</c:v>
                </c:pt>
                <c:pt idx="8">
                  <c:v>23.273657289002571</c:v>
                </c:pt>
                <c:pt idx="9">
                  <c:v>27.062169849654616</c:v>
                </c:pt>
                <c:pt idx="10">
                  <c:v>20.737327188940078</c:v>
                </c:pt>
                <c:pt idx="11">
                  <c:v>27.220394736842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81BB-ED40-A045-3ED96372B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21420543"/>
        <c:axId val="1"/>
      </c:areaChart>
      <c:catAx>
        <c:axId val="1221420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.78805931767530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2142054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8319823139277821E-2"/>
          <c:w val="0.94202898550724634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257.2</c:v>
                </c:pt>
                <c:pt idx="2">
                  <c:v>40.5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0D-C84A-98F7-DB7AECFA504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377.83</c:v>
                </c:pt>
                <c:pt idx="1">
                  <c:v>1432.79</c:v>
                </c:pt>
                <c:pt idx="2">
                  <c:v>1504.01</c:v>
                </c:pt>
                <c:pt idx="3">
                  <c:v>140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0D-C84A-98F7-DB7AECFA504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2.460000000000036</c:v>
                </c:pt>
                <c:pt idx="1">
                  <c:v>83.740000000000009</c:v>
                </c:pt>
                <c:pt idx="2">
                  <c:v>41.059999999999945</c:v>
                </c:pt>
                <c:pt idx="3">
                  <c:v>65.410000000000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D-C84A-98F7-DB7AECFA504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46.58999999999992</c:v>
                </c:pt>
                <c:pt idx="1">
                  <c:v>397.05000000000018</c:v>
                </c:pt>
                <c:pt idx="2">
                  <c:v>63.950000000000045</c:v>
                </c:pt>
                <c:pt idx="3">
                  <c:v>64.3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0D-C84A-98F7-DB7AECFA5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129135"/>
        <c:axId val="1"/>
      </c:areaChart>
      <c:catAx>
        <c:axId val="1703129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0.78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1291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8776978417266189E-2"/>
          <c:w val="0.98152424942263283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.00473726404780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87-E34E-853E-F5B6EE88A2F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3.761232349165596</c:v>
                </c:pt>
                <c:pt idx="1">
                  <c:v>29.177057356608472</c:v>
                </c:pt>
                <c:pt idx="2">
                  <c:v>154.8476454293629</c:v>
                </c:pt>
                <c:pt idx="3">
                  <c:v>84.3</c:v>
                </c:pt>
                <c:pt idx="4">
                  <c:v>-19.730941704035875</c:v>
                </c:pt>
                <c:pt idx="5">
                  <c:v>126.51296829971184</c:v>
                </c:pt>
                <c:pt idx="6">
                  <c:v>136.26062322946177</c:v>
                </c:pt>
                <c:pt idx="7">
                  <c:v>-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87-E34E-853E-F5B6EE88A2F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7.787056367432157</c:v>
                </c:pt>
                <c:pt idx="1">
                  <c:v>59.76789168278529</c:v>
                </c:pt>
                <c:pt idx="2">
                  <c:v>5.0808314087759765</c:v>
                </c:pt>
                <c:pt idx="3">
                  <c:v>65.400000000000006</c:v>
                </c:pt>
                <c:pt idx="4">
                  <c:v>-38.94736842105263</c:v>
                </c:pt>
                <c:pt idx="5">
                  <c:v>51.735015772870653</c:v>
                </c:pt>
                <c:pt idx="6">
                  <c:v>63.128491620111738</c:v>
                </c:pt>
                <c:pt idx="7">
                  <c:v>70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87-E34E-853E-F5B6EE88A2F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.032258064516128</c:v>
                </c:pt>
                <c:pt idx="1">
                  <c:v>39.391703557960312</c:v>
                </c:pt>
                <c:pt idx="2">
                  <c:v>34.551814604285092</c:v>
                </c:pt>
                <c:pt idx="3">
                  <c:v>27.700000000000003</c:v>
                </c:pt>
                <c:pt idx="4">
                  <c:v>-2.7262180974477968</c:v>
                </c:pt>
                <c:pt idx="5">
                  <c:v>28.297830760211063</c:v>
                </c:pt>
                <c:pt idx="6">
                  <c:v>28.382415706359374</c:v>
                </c:pt>
                <c:pt idx="7">
                  <c:v>2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87-E34E-853E-F5B6EE88A2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3376655"/>
        <c:axId val="1"/>
      </c:lineChart>
      <c:catAx>
        <c:axId val="170337665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4.8476454293629"/>
          <c:min val="-38.94736842105263"/>
        </c:scaling>
        <c:delete val="1"/>
        <c:axPos val="l"/>
        <c:numFmt formatCode="General" sourceLinked="1"/>
        <c:majorTickMark val="out"/>
        <c:minorTickMark val="none"/>
        <c:tickLblPos val="nextTo"/>
        <c:crossAx val="17033766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3.8319823139277821E-2"/>
          <c:w val="0.9385705847607797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1.79999999999995</c:v>
                </c:pt>
                <c:pt idx="1">
                  <c:v>332.4</c:v>
                </c:pt>
                <c:pt idx="2">
                  <c:v>386.1</c:v>
                </c:pt>
                <c:pt idx="3">
                  <c:v>1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6A-EF46-AC1E-42A2CB1D322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1.9999999999995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6A-EF46-AC1E-42A2CB1D322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6A-EF46-AC1E-42A2CB1D322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.000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6A-EF46-AC1E-42A2CB1D3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7097071"/>
        <c:axId val="1"/>
      </c:areaChart>
      <c:catAx>
        <c:axId val="1527097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709707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79432624113473E-2"/>
          <c:w val="0.93540372670807448"/>
          <c:h val="0.9262411347517730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6C-1F4C-935E-8C8514BF550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6C-1F4C-935E-8C8514BF550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6C-1F4C-935E-8C8514BF550F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6C-1F4C-935E-8C8514BF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4709408"/>
        <c:axId val="1"/>
      </c:areaChart>
      <c:catAx>
        <c:axId val="334709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470940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3.8348082595870206E-2"/>
          <c:w val="0.94381415451107509"/>
          <c:h val="0.923303834808259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6F-8446-AE80-0CE37939F14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6F-8446-AE80-0CE37939F14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6F-8446-AE80-0CE37939F14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6F-8446-AE80-0CE37939F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0966687"/>
        <c:axId val="1"/>
      </c:areaChart>
      <c:catAx>
        <c:axId val="730966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096668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7397260273972601E-2"/>
          <c:w val="0.98152424942263283"/>
          <c:h val="0.945205479452054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9C-8549-AFC7-79DD6AE1C92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18.147448015122869</c:v>
                </c:pt>
                <c:pt idx="1">
                  <c:v>31.729879740980582</c:v>
                </c:pt>
                <c:pt idx="2">
                  <c:v>69.016697588126164</c:v>
                </c:pt>
                <c:pt idx="3">
                  <c:v>15.8</c:v>
                </c:pt>
                <c:pt idx="4">
                  <c:v>-28.055555555555557</c:v>
                </c:pt>
                <c:pt idx="5">
                  <c:v>94.31578947368422</c:v>
                </c:pt>
                <c:pt idx="6">
                  <c:v>21.459227467811147</c:v>
                </c:pt>
                <c:pt idx="7">
                  <c:v>1.12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59C-8549-AFC7-79DD6AE1C926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6.77419354838707</c:v>
                </c:pt>
                <c:pt idx="1">
                  <c:v>54.255319148936174</c:v>
                </c:pt>
                <c:pt idx="2">
                  <c:v>32.520325203252028</c:v>
                </c:pt>
                <c:pt idx="3">
                  <c:v>63</c:v>
                </c:pt>
                <c:pt idx="4">
                  <c:v>-17.948717948717952</c:v>
                </c:pt>
                <c:pt idx="5">
                  <c:v>11.153846153846159</c:v>
                </c:pt>
                <c:pt idx="6">
                  <c:v>75.141242937853121</c:v>
                </c:pt>
                <c:pt idx="7">
                  <c:v>3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9C-8549-AFC7-79DD6AE1C926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588952897322933</c:v>
                </c:pt>
                <c:pt idx="1">
                  <c:v>40.840950639853759</c:v>
                </c:pt>
                <c:pt idx="2">
                  <c:v>42.069180430040511</c:v>
                </c:pt>
                <c:pt idx="3">
                  <c:v>38</c:v>
                </c:pt>
                <c:pt idx="4">
                  <c:v>-28.473413379073754</c:v>
                </c:pt>
                <c:pt idx="5">
                  <c:v>67.630057803468205</c:v>
                </c:pt>
                <c:pt idx="6">
                  <c:v>44.229279628195208</c:v>
                </c:pt>
                <c:pt idx="7">
                  <c:v>2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59C-8549-AFC7-79DD6AE1C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028976"/>
        <c:axId val="1"/>
      </c:lineChart>
      <c:catAx>
        <c:axId val="57302897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6.77419354838707"/>
          <c:min val="-28.473413379073754"/>
        </c:scaling>
        <c:delete val="1"/>
        <c:axPos val="l"/>
        <c:numFmt formatCode="General" sourceLinked="1"/>
        <c:majorTickMark val="out"/>
        <c:minorTickMark val="none"/>
        <c:tickLblPos val="nextTo"/>
        <c:crossAx val="573028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06-F446-B176-04A2F2CEAD9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06-F446-B176-04A2F2CEAD9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06-F446-B176-04A2F2CEAD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2644192"/>
        <c:axId val="1"/>
      </c:areaChart>
      <c:catAx>
        <c:axId val="592644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26441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77-F542-8EE1-441F52EB89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77-F542-8EE1-441F52EB89E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77-F542-8EE1-441F52EB8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542447"/>
        <c:axId val="1"/>
      </c:areaChart>
      <c:catAx>
        <c:axId val="1708542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54244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3C47-8FF2-EA4C7D3A20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C-3C47-8FF2-EA4C7D3A20C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0C-3C47-8FF2-EA4C7D3A2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906031"/>
        <c:axId val="1"/>
      </c:areaChart>
      <c:catAx>
        <c:axId val="1708906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90603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77-D042-8BD8-AA616DC832B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77-D042-8BD8-AA616DC832B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477-D042-8BD8-AA616DC832B8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77-D042-8BD8-AA616DC832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0355120"/>
        <c:axId val="1"/>
      </c:lineChart>
      <c:catAx>
        <c:axId val="4703551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470355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542003957546322E-3"/>
          <c:y val="6.2780269058295965E-2"/>
          <c:w val="0.98129159920849074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2920.8381742738593</c:v>
                </c:pt>
                <c:pt idx="1">
                  <c:v>2960.8381742738593</c:v>
                </c:pt>
                <c:pt idx="2">
                  <c:v>2827.8381742738593</c:v>
                </c:pt>
                <c:pt idx="3">
                  <c:v>3119.8381742738593</c:v>
                </c:pt>
                <c:pt idx="4">
                  <c:v>3141.8381742738593</c:v>
                </c:pt>
                <c:pt idx="5">
                  <c:v>2822.8381742738593</c:v>
                </c:pt>
                <c:pt idx="6">
                  <c:v>3263.8381742738593</c:v>
                </c:pt>
                <c:pt idx="7">
                  <c:v>2773.8381742738593</c:v>
                </c:pt>
                <c:pt idx="8">
                  <c:v>2783.8381742738593</c:v>
                </c:pt>
                <c:pt idx="9">
                  <c:v>2617.8381742738593</c:v>
                </c:pt>
                <c:pt idx="10">
                  <c:v>933.83817427385929</c:v>
                </c:pt>
                <c:pt idx="11">
                  <c:v>3368.8381742738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B-7442-8174-B8B363FFA42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DB-7442-8174-B8B363FFA42D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DB-7442-8174-B8B363FFA42D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DB-7442-8174-B8B363FFA42D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DB-7442-8174-B8B363FFA42D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DB-7442-8174-B8B363FFA42D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DB-7442-8174-B8B363FFA42D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6DB-7442-8174-B8B363FFA42D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6DB-7442-8174-B8B363FFA4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171</c:v>
                </c:pt>
                <c:pt idx="2">
                  <c:v>355</c:v>
                </c:pt>
                <c:pt idx="3">
                  <c:v>527</c:v>
                </c:pt>
                <c:pt idx="4">
                  <c:v>634</c:v>
                </c:pt>
                <c:pt idx="5">
                  <c:v>693</c:v>
                </c:pt>
                <c:pt idx="6">
                  <c:v>901</c:v>
                </c:pt>
                <c:pt idx="7">
                  <c:v>938</c:v>
                </c:pt>
                <c:pt idx="8">
                  <c:v>1086</c:v>
                </c:pt>
                <c:pt idx="9">
                  <c:v>1112</c:v>
                </c:pt>
                <c:pt idx="10">
                  <c:v>715</c:v>
                </c:pt>
                <c:pt idx="11">
                  <c:v>1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6DB-7442-8174-B8B363FFA42D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11"/>
              <c:layout>
                <c:manualLayout>
                  <c:x val="-1.169275049469329E-2"/>
                  <c:y val="1.04633781763826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6DB-7442-8174-B8B363FFA4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57</c:v>
                </c:pt>
                <c:pt idx="1">
                  <c:v>43</c:v>
                </c:pt>
                <c:pt idx="2">
                  <c:v>49</c:v>
                </c:pt>
                <c:pt idx="3">
                  <c:v>54</c:v>
                </c:pt>
                <c:pt idx="4">
                  <c:v>68</c:v>
                </c:pt>
                <c:pt idx="5">
                  <c:v>59</c:v>
                </c:pt>
                <c:pt idx="6">
                  <c:v>37</c:v>
                </c:pt>
                <c:pt idx="7">
                  <c:v>60</c:v>
                </c:pt>
                <c:pt idx="8">
                  <c:v>45</c:v>
                </c:pt>
                <c:pt idx="9">
                  <c:v>41</c:v>
                </c:pt>
                <c:pt idx="10">
                  <c:v>9</c:v>
                </c:pt>
                <c:pt idx="1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6DB-7442-8174-B8B363FFA4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3021199"/>
        <c:axId val="1"/>
      </c:areaChart>
      <c:catAx>
        <c:axId val="273021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03.838174273859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7302119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890510948905105E-3"/>
          <c:y val="6.2780269058295965E-2"/>
          <c:w val="0.9810218978102189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50.140090623949575</c:v>
                </c:pt>
                <c:pt idx="1">
                  <c:v>46.966254430650253</c:v>
                </c:pt>
                <c:pt idx="2">
                  <c:v>43.161550871019585</c:v>
                </c:pt>
                <c:pt idx="3">
                  <c:v>40.594362870952203</c:v>
                </c:pt>
                <c:pt idx="4">
                  <c:v>38.688122674667191</c:v>
                </c:pt>
                <c:pt idx="5">
                  <c:v>37.092860265476382</c:v>
                </c:pt>
                <c:pt idx="6">
                  <c:v>35.455906650878923</c:v>
                </c:pt>
                <c:pt idx="7">
                  <c:v>33.1079568790569</c:v>
                </c:pt>
                <c:pt idx="8">
                  <c:v>31.202768030263826</c:v>
                </c:pt>
                <c:pt idx="9">
                  <c:v>30.269425390865933</c:v>
                </c:pt>
                <c:pt idx="10">
                  <c:v>29.773437046859243</c:v>
                </c:pt>
                <c:pt idx="11">
                  <c:v>28.511164129048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14-6A42-987C-0D59CACCC83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F14-6A42-987C-0D59CACCC83F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F14-6A42-987C-0D59CACCC83F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F14-6A42-987C-0D59CACCC83F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F14-6A42-987C-0D59CACCC83F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F14-6A42-987C-0D59CACCC83F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F14-6A42-987C-0D59CACCC83F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F14-6A42-987C-0D59CACCC83F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F14-6A42-987C-0D59CACCC83F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F14-6A42-987C-0D59CACCC83F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F14-6A42-987C-0D59CACCC83F}"/>
                </c:ext>
              </c:extLst>
            </c:dLbl>
            <c:dLbl>
              <c:idx val="11"/>
              <c:layout>
                <c:manualLayout>
                  <c:x val="-1.18613138686131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F14-6A42-987C-0D59CACCC8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3.510572777663723</c:v>
                </c:pt>
                <c:pt idx="2">
                  <c:v>7.2037337662337659</c:v>
                </c:pt>
                <c:pt idx="3">
                  <c:v>9.7646840837502307</c:v>
                </c:pt>
                <c:pt idx="4">
                  <c:v>11.444043321299635</c:v>
                </c:pt>
                <c:pt idx="5">
                  <c:v>13.147410358565736</c:v>
                </c:pt>
                <c:pt idx="6">
                  <c:v>15.276364869447267</c:v>
                </c:pt>
                <c:pt idx="7">
                  <c:v>17.154352596927581</c:v>
                </c:pt>
                <c:pt idx="8">
                  <c:v>19.354838709677423</c:v>
                </c:pt>
                <c:pt idx="9">
                  <c:v>20.340223157124569</c:v>
                </c:pt>
                <c:pt idx="10">
                  <c:v>21.317829457364333</c:v>
                </c:pt>
                <c:pt idx="11">
                  <c:v>21.8431073876618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F14-6A42-987C-0D59CACCC83F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.2195121951219523</c:v>
                </c:pt>
                <c:pt idx="1">
                  <c:v>0.88277561075754685</c:v>
                </c:pt>
                <c:pt idx="2">
                  <c:v>0.99431818181817677</c:v>
                </c:pt>
                <c:pt idx="3">
                  <c:v>1.0005558643690904</c:v>
                </c:pt>
                <c:pt idx="4">
                  <c:v>1.2274368231046884</c:v>
                </c:pt>
                <c:pt idx="5">
                  <c:v>1.1193321950294099</c:v>
                </c:pt>
                <c:pt idx="6">
                  <c:v>0.62733129874533722</c:v>
                </c:pt>
                <c:pt idx="7">
                  <c:v>1.0972933430870468</c:v>
                </c:pt>
                <c:pt idx="8">
                  <c:v>0.80199607913027382</c:v>
                </c:pt>
                <c:pt idx="9">
                  <c:v>0.74995427108102142</c:v>
                </c:pt>
                <c:pt idx="10">
                  <c:v>0.26833631484793896</c:v>
                </c:pt>
                <c:pt idx="11">
                  <c:v>1.005331302361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F14-6A42-987C-0D59CACCC8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2462095"/>
        <c:axId val="1"/>
      </c:areaChart>
      <c:catAx>
        <c:axId val="1192462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1.35960281907152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9246209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64784946236562E-2"/>
          <c:y val="6.2780269058295965E-2"/>
          <c:w val="0.9164986559139785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5537634408602152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62C-4840-9C7F-BBF422532FC4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62C-4840-9C7F-BBF422532FC4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62C-4840-9C7F-BBF422532FC4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62C-4840-9C7F-BBF422532FC4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62C-4840-9C7F-BBF422532FC4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62C-4840-9C7F-BBF422532FC4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62C-4840-9C7F-BBF422532FC4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62C-4840-9C7F-BBF422532FC4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62C-4840-9C7F-BBF422532FC4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62C-4840-9C7F-BBF422532FC4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62C-4840-9C7F-BBF422532FC4}"/>
                </c:ext>
              </c:extLst>
            </c:dLbl>
            <c:dLbl>
              <c:idx val="11"/>
              <c:layout>
                <c:manualLayout>
                  <c:x val="-1.0920698924731184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62C-4840-9C7F-BBF422532F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208</c:v>
                </c:pt>
                <c:pt idx="1">
                  <c:v>1224</c:v>
                </c:pt>
                <c:pt idx="2">
                  <c:v>1403</c:v>
                </c:pt>
                <c:pt idx="3">
                  <c:v>1446</c:v>
                </c:pt>
                <c:pt idx="4">
                  <c:v>941</c:v>
                </c:pt>
                <c:pt idx="5">
                  <c:v>960</c:v>
                </c:pt>
                <c:pt idx="6">
                  <c:v>826</c:v>
                </c:pt>
                <c:pt idx="7">
                  <c:v>766</c:v>
                </c:pt>
                <c:pt idx="8">
                  <c:v>787</c:v>
                </c:pt>
                <c:pt idx="9">
                  <c:v>818</c:v>
                </c:pt>
                <c:pt idx="10">
                  <c:v>464</c:v>
                </c:pt>
                <c:pt idx="11">
                  <c:v>1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62C-4840-9C7F-BBF422532FC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62C-4840-9C7F-BBF422532FC4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62C-4840-9C7F-BBF422532FC4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62C-4840-9C7F-BBF422532FC4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62C-4840-9C7F-BBF422532FC4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62C-4840-9C7F-BBF422532FC4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62C-4840-9C7F-BBF422532FC4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62C-4840-9C7F-BBF422532FC4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62C-4840-9C7F-BBF422532FC4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62C-4840-9C7F-BBF422532F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112</c:v>
                </c:pt>
                <c:pt idx="2">
                  <c:v>243</c:v>
                </c:pt>
                <c:pt idx="3">
                  <c:v>392</c:v>
                </c:pt>
                <c:pt idx="4">
                  <c:v>354</c:v>
                </c:pt>
                <c:pt idx="5">
                  <c:v>406</c:v>
                </c:pt>
                <c:pt idx="6">
                  <c:v>413</c:v>
                </c:pt>
                <c:pt idx="7">
                  <c:v>435</c:v>
                </c:pt>
                <c:pt idx="8">
                  <c:v>502</c:v>
                </c:pt>
                <c:pt idx="9">
                  <c:v>556</c:v>
                </c:pt>
                <c:pt idx="10">
                  <c:v>359</c:v>
                </c:pt>
                <c:pt idx="11">
                  <c:v>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562C-4840-9C7F-BBF422532FC4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11"/>
              <c:layout>
                <c:manualLayout>
                  <c:x val="-1.0920698924731184E-2"/>
                  <c:y val="8.968609865470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62C-4840-9C7F-BBF422532F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41</c:v>
                </c:pt>
                <c:pt idx="1">
                  <c:v>34</c:v>
                </c:pt>
                <c:pt idx="2">
                  <c:v>68</c:v>
                </c:pt>
                <c:pt idx="3">
                  <c:v>51</c:v>
                </c:pt>
                <c:pt idx="4">
                  <c:v>36</c:v>
                </c:pt>
                <c:pt idx="5">
                  <c:v>28</c:v>
                </c:pt>
                <c:pt idx="6">
                  <c:v>52</c:v>
                </c:pt>
                <c:pt idx="7">
                  <c:v>32</c:v>
                </c:pt>
                <c:pt idx="8">
                  <c:v>27</c:v>
                </c:pt>
                <c:pt idx="9">
                  <c:v>27</c:v>
                </c:pt>
                <c:pt idx="10">
                  <c:v>10</c:v>
                </c:pt>
                <c:pt idx="1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62C-4840-9C7F-BBF422532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6883151"/>
        <c:axId val="1"/>
      </c:areaChart>
      <c:catAx>
        <c:axId val="11968831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96883151"/>
        <c:crosses val="min"/>
        <c:crossBetween val="midCat"/>
        <c:majorUnit val="2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0828153871997E-2"/>
          <c:y val="6.2780269058295965E-2"/>
          <c:w val="0.90307408029564928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dLbls>
            <c:dLbl>
              <c:idx val="0"/>
              <c:layout>
                <c:manualLayout>
                  <c:x val="2.0997816227112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90A-CB40-9023-4AF15768C665}"/>
                </c:ext>
              </c:extLst>
            </c:dLbl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90A-CB40-9023-4AF15768C665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90A-CB40-9023-4AF15768C66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90A-CB40-9023-4AF15768C66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90A-CB40-9023-4AF15768C66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90A-CB40-9023-4AF15768C66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90A-CB40-9023-4AF15768C66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90A-CB40-9023-4AF15768C66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90A-CB40-9023-4AF15768C66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90A-CB40-9023-4AF15768C66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90A-CB40-9023-4AF15768C665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90A-CB40-9023-4AF15768C6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6.717373899119295</c:v>
                </c:pt>
                <c:pt idx="1">
                  <c:v>89.34306569343066</c:v>
                </c:pt>
                <c:pt idx="2">
                  <c:v>81.855309218203033</c:v>
                </c:pt>
                <c:pt idx="3">
                  <c:v>76.548438327157228</c:v>
                </c:pt>
                <c:pt idx="4">
                  <c:v>70.698722764838465</c:v>
                </c:pt>
                <c:pt idx="5">
                  <c:v>68.866571018651371</c:v>
                </c:pt>
                <c:pt idx="6">
                  <c:v>63.981409759876065</c:v>
                </c:pt>
                <c:pt idx="7">
                  <c:v>62.124898621248988</c:v>
                </c:pt>
                <c:pt idx="8">
                  <c:v>59.80243161094225</c:v>
                </c:pt>
                <c:pt idx="9">
                  <c:v>58.386866523911493</c:v>
                </c:pt>
                <c:pt idx="10">
                  <c:v>55.702280912364941</c:v>
                </c:pt>
                <c:pt idx="11">
                  <c:v>54.576856649395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90A-CB40-9023-4AF15768C66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1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90A-CB40-9023-4AF15768C665}"/>
                </c:ext>
              </c:extLst>
            </c:dLbl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90A-CB40-9023-4AF15768C665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90A-CB40-9023-4AF15768C665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90A-CB40-9023-4AF15768C665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90A-CB40-9023-4AF15768C66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90A-CB40-9023-4AF15768C665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90A-CB40-9023-4AF15768C665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90A-CB40-9023-4AF15768C665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90A-CB40-9023-4AF15768C665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90A-CB40-9023-4AF15768C665}"/>
                </c:ext>
              </c:extLst>
            </c:dLbl>
            <c:dLbl>
              <c:idx val="11"/>
              <c:layout>
                <c:manualLayout>
                  <c:x val="-1.0918864438098438E-2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90A-CB40-9023-4AF15768C6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8.1751824817518308</c:v>
                </c:pt>
                <c:pt idx="2">
                  <c:v>14.177362893815637</c:v>
                </c:pt>
                <c:pt idx="3">
                  <c:v>20.751720487030177</c:v>
                </c:pt>
                <c:pt idx="4">
                  <c:v>26.596543951915852</c:v>
                </c:pt>
                <c:pt idx="5">
                  <c:v>29.124820659971306</c:v>
                </c:pt>
                <c:pt idx="6">
                  <c:v>31.990704879938036</c:v>
                </c:pt>
                <c:pt idx="7">
                  <c:v>35.279805352798057</c:v>
                </c:pt>
                <c:pt idx="8">
                  <c:v>38.145896656534958</c:v>
                </c:pt>
                <c:pt idx="9">
                  <c:v>39.685938615274807</c:v>
                </c:pt>
                <c:pt idx="10">
                  <c:v>43.09723889555822</c:v>
                </c:pt>
                <c:pt idx="11">
                  <c:v>42.400690846286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790A-CB40-9023-4AF15768C665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790A-CB40-9023-4AF15768C665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790A-CB40-9023-4AF15768C6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3.2826261008807034</c:v>
                </c:pt>
                <c:pt idx="1">
                  <c:v>2.481751824817513</c:v>
                </c:pt>
                <c:pt idx="2">
                  <c:v>3.9673278879813312</c:v>
                </c:pt>
                <c:pt idx="3">
                  <c:v>2.6998411858125904</c:v>
                </c:pt>
                <c:pt idx="4">
                  <c:v>2.704733283245675</c:v>
                </c:pt>
                <c:pt idx="5">
                  <c:v>2.0086083213773254</c:v>
                </c:pt>
                <c:pt idx="6">
                  <c:v>4.027885360185901</c:v>
                </c:pt>
                <c:pt idx="7">
                  <c:v>2.5952960259529534</c:v>
                </c:pt>
                <c:pt idx="8">
                  <c:v>2.0516717325227862</c:v>
                </c:pt>
                <c:pt idx="9">
                  <c:v>1.9271948608136968</c:v>
                </c:pt>
                <c:pt idx="10">
                  <c:v>1.200480192076836</c:v>
                </c:pt>
                <c:pt idx="11">
                  <c:v>3.0224525043177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790A-CB40-9023-4AF15768C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6593231"/>
        <c:axId val="1"/>
      </c:areaChart>
      <c:catAx>
        <c:axId val="1196593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&quot;%&quot;;&quot;-&quot;0.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4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1196593231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511086877499088E-3"/>
          <c:y val="6.2780269058295965E-2"/>
          <c:w val="0.9810977826245002"/>
          <c:h val="0.8744394618834080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009193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7565.5850673194609</c:v>
                </c:pt>
                <c:pt idx="1">
                  <c:v>7243.5850673194609</c:v>
                </c:pt>
                <c:pt idx="2">
                  <c:v>6975.5850673194609</c:v>
                </c:pt>
                <c:pt idx="3">
                  <c:v>6757.5850673194609</c:v>
                </c:pt>
                <c:pt idx="4">
                  <c:v>6445.5850673194609</c:v>
                </c:pt>
                <c:pt idx="5">
                  <c:v>6297.5850673194609</c:v>
                </c:pt>
                <c:pt idx="6">
                  <c:v>6072.5850673194609</c:v>
                </c:pt>
                <c:pt idx="7">
                  <c:v>5812.5850673194609</c:v>
                </c:pt>
                <c:pt idx="8">
                  <c:v>5517.5850673194609</c:v>
                </c:pt>
                <c:pt idx="9">
                  <c:v>5055.5850673194609</c:v>
                </c:pt>
                <c:pt idx="10">
                  <c:v>4945.5850673194609</c:v>
                </c:pt>
                <c:pt idx="11">
                  <c:v>4696.5850673194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7A-0E43-BD3D-CF35FFC7A57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2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7A-0E43-BD3D-CF35FFC7A579}"/>
                </c:ext>
              </c:extLst>
            </c:dLbl>
            <c:dLbl>
              <c:idx val="3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7A-0E43-BD3D-CF35FFC7A579}"/>
                </c:ext>
              </c:extLst>
            </c:dLbl>
            <c:dLbl>
              <c:idx val="4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7A-0E43-BD3D-CF35FFC7A579}"/>
                </c:ext>
              </c:extLst>
            </c:dLbl>
            <c:dLbl>
              <c:idx val="5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07A-0E43-BD3D-CF35FFC7A579}"/>
                </c:ext>
              </c:extLst>
            </c:dLbl>
            <c:dLbl>
              <c:idx val="6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7A-0E43-BD3D-CF35FFC7A579}"/>
                </c:ext>
              </c:extLst>
            </c:dLbl>
            <c:dLbl>
              <c:idx val="7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7A-0E43-BD3D-CF35FFC7A579}"/>
                </c:ext>
              </c:extLst>
            </c:dLbl>
            <c:dLbl>
              <c:idx val="8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7A-0E43-BD3D-CF35FFC7A579}"/>
                </c:ext>
              </c:extLst>
            </c:dLbl>
            <c:dLbl>
              <c:idx val="9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7A-0E43-BD3D-CF35FFC7A579}"/>
                </c:ext>
              </c:extLst>
            </c:dLbl>
            <c:dLbl>
              <c:idx val="10"/>
              <c:layout>
                <c:manualLayout>
                  <c:x val="0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07A-0E43-BD3D-CF35FFC7A579}"/>
                </c:ext>
              </c:extLst>
            </c:dLbl>
            <c:dLbl>
              <c:idx val="11"/>
              <c:layout>
                <c:manualLayout>
                  <c:x val="-1.1813885859687387E-2"/>
                  <c:y val="-1.12107623318385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7A-0E43-BD3D-CF35FFC7A5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503</c:v>
                </c:pt>
                <c:pt idx="2">
                  <c:v>1051</c:v>
                </c:pt>
                <c:pt idx="3">
                  <c:v>1668.0000000000009</c:v>
                </c:pt>
                <c:pt idx="4">
                  <c:v>2235.0000000000009</c:v>
                </c:pt>
                <c:pt idx="5">
                  <c:v>2715.0000000000009</c:v>
                </c:pt>
                <c:pt idx="6">
                  <c:v>3548.0000000000009</c:v>
                </c:pt>
                <c:pt idx="7">
                  <c:v>4399.0000000000009</c:v>
                </c:pt>
                <c:pt idx="8">
                  <c:v>5413.0000000000009</c:v>
                </c:pt>
                <c:pt idx="9">
                  <c:v>7094.0000000000009</c:v>
                </c:pt>
                <c:pt idx="10">
                  <c:v>9658</c:v>
                </c:pt>
                <c:pt idx="11">
                  <c:v>10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07A-0E43-BD3D-CF35FFC7A579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213</c:v>
                </c:pt>
                <c:pt idx="1">
                  <c:v>246</c:v>
                </c:pt>
                <c:pt idx="2">
                  <c:v>299.00000000000091</c:v>
                </c:pt>
                <c:pt idx="3">
                  <c:v>263</c:v>
                </c:pt>
                <c:pt idx="4">
                  <c:v>250</c:v>
                </c:pt>
                <c:pt idx="5">
                  <c:v>334</c:v>
                </c:pt>
                <c:pt idx="6">
                  <c:v>239</c:v>
                </c:pt>
                <c:pt idx="7">
                  <c:v>352</c:v>
                </c:pt>
                <c:pt idx="8">
                  <c:v>436</c:v>
                </c:pt>
                <c:pt idx="9">
                  <c:v>545</c:v>
                </c:pt>
                <c:pt idx="10">
                  <c:v>169</c:v>
                </c:pt>
                <c:pt idx="11">
                  <c:v>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07A-0E43-BD3D-CF35FFC7A5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4298192"/>
        <c:axId val="1"/>
      </c:areaChart>
      <c:catAx>
        <c:axId val="1184298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566.58506731946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842981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76657F-7A29-DA46-BDF7-DBA4BD24A48B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69938" y="1143000"/>
            <a:ext cx="5318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3B7E9-AA5B-564D-B531-1DFCA2A5AA0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59055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1pPr>
    <a:lvl2pPr marL="765707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2pPr>
    <a:lvl3pPr marL="1531413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3pPr>
    <a:lvl4pPr marL="229712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4pPr>
    <a:lvl5pPr marL="306282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5pPr>
    <a:lvl6pPr marL="3828534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6pPr>
    <a:lvl7pPr marL="459424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7pPr>
    <a:lvl8pPr marL="535994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8pPr>
    <a:lvl9pPr marL="6125655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9074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706826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059B4-6FF7-ACD7-05B4-0B3946B48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2F4775B-49BB-ADBF-9507-7E108D13C0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652CDC-9401-7B70-6954-80C1891953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805687-5DFA-A466-D363-24A04DA53E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93594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4F44A-5DA8-7CE9-596E-94889B1B2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F25A0F7-94D2-7728-31FF-01963F620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422DDA-DECD-1454-E1F3-361A3D9DA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总收入：直营｜渠道｜电销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77A992-3FB0-F295-C286-07D0B89C31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264759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3F595-E3E2-82F9-C043-DE430A583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6ACF777-8169-0479-5861-FDFB58D17E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DC13B9-7060-5E73-A548-D78F48833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总收入：直营｜渠道｜电销；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406E10-AC5C-83C0-1777-B51CF88821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37864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/>
              <a:t>教培总收入：直营｜渠道｜电销</a:t>
            </a: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64109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*收入类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75337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FAC7F-15F8-2A09-E72B-4C5EF85A9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570F29-82AD-A799-90D6-61E1AB08F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64A5E8D-0505-FE3E-B768-95D8FE1B08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教培*收入类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B07E4A5-52D9-1364-0704-767A88AC5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17397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7801B-460F-0046-CE4C-B7FE1830B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E06490-75E3-BF88-0928-DC8B5272B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1C39E54-A1CE-BB21-6149-2CF354328E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直营</a:t>
            </a:r>
            <a:r>
              <a:rPr kumimoji="1" lang="en-US" altLang="zh-CN" dirty="0"/>
              <a:t>by</a:t>
            </a:r>
            <a:r>
              <a:rPr kumimoji="1" lang="zh-CN" altLang="en-US" dirty="0"/>
              <a:t>收入类型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F9B9F0-B35A-38EB-C95C-3D8C9B8A9E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579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CBB7E-85CF-CF1B-BF23-C82F31501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9789E86-741D-A738-01AA-E4A3962105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79AAAB6-09CC-6440-7093-912458C8BB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10BE26-A2F8-5554-3215-6A78846088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33372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753ED-93E7-E1B2-9D03-CC6A95096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B24611A-B99F-E2A0-8ABE-68D859586A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96AA0D6-0B17-A9CB-2027-9E4C949987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983B05F-12C4-DEAA-43C5-22AED5F645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99398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6D18-46FE-C4D2-7478-6A06C83E5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CB283A7-8558-EE7C-5AD8-3D9EE78F2F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26CCABE-B2B0-63AC-0BA3-243BEC7B6C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BEE815-F147-F3C6-FD05-3F10E5C06A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75670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35D52-4FF2-36BF-075E-70D438A6E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779058E-FA89-DBCD-CFD9-D014B9CACE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0DA0694-FE61-6FE4-05BA-EF5E1043E3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84D1A34-CF28-ADDF-B42A-0829A88EE5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06567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68340E-02F7-3F97-2CBF-2416F4C9D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6DDBD7A-F449-2F5E-A465-20801C4CB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037E943-A676-4B6D-C6C1-11D95CD6E1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C88E65-0077-57BA-ACBF-88509A3EE8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54176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637A3-8DD4-FA83-2C96-EF4272430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7B809E6-61A2-68B1-9B20-015CBA2751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2C03E89-D483-EB77-82E8-DB117BD860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5108B3C-88A0-585D-E8EE-BC8C278DC4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39381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4DB6A3-D033-6663-8E3C-18C47653B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3BE8E6-0594-B946-5657-42590135BC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DA44CC5-874A-C53E-F9F1-4BBEB388D5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5445F61-E1C3-10FB-E652-7D45CE469A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816353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3044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7999" y="2064940"/>
            <a:ext cx="16307991" cy="4392742"/>
          </a:xfrm>
        </p:spPr>
        <p:txBody>
          <a:bodyPr anchor="b"/>
          <a:lstStyle>
            <a:lvl1pPr algn="ctr"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17999" y="6627083"/>
            <a:ext cx="16307991" cy="3046295"/>
          </a:xfrm>
        </p:spPr>
        <p:txBody>
          <a:bodyPr/>
          <a:lstStyle>
            <a:lvl1pPr marL="0" indent="0" algn="ctr">
              <a:buNone/>
              <a:defRPr sz="4280"/>
            </a:lvl1pPr>
            <a:lvl2pPr marL="815416" indent="0" algn="ctr">
              <a:buNone/>
              <a:defRPr sz="3567"/>
            </a:lvl2pPr>
            <a:lvl3pPr marL="1630832" indent="0" algn="ctr">
              <a:buNone/>
              <a:defRPr sz="3210"/>
            </a:lvl3pPr>
            <a:lvl4pPr marL="2446249" indent="0" algn="ctr">
              <a:buNone/>
              <a:defRPr sz="2854"/>
            </a:lvl4pPr>
            <a:lvl5pPr marL="3261665" indent="0" algn="ctr">
              <a:buNone/>
              <a:defRPr sz="2854"/>
            </a:lvl5pPr>
            <a:lvl6pPr marL="4077081" indent="0" algn="ctr">
              <a:buNone/>
              <a:defRPr sz="2854"/>
            </a:lvl6pPr>
            <a:lvl7pPr marL="4892497" indent="0" algn="ctr">
              <a:buNone/>
              <a:defRPr sz="2854"/>
            </a:lvl7pPr>
            <a:lvl8pPr marL="5707913" indent="0" algn="ctr">
              <a:buNone/>
              <a:defRPr sz="2854"/>
            </a:lvl8pPr>
            <a:lvl9pPr marL="6523330" indent="0" algn="ctr">
              <a:buNone/>
              <a:defRPr sz="2854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63274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8400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60542" y="671762"/>
            <a:ext cx="4688547" cy="1069270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4899" y="671762"/>
            <a:ext cx="13793842" cy="1069270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89327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59933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3574" y="3145602"/>
            <a:ext cx="18754190" cy="5248508"/>
          </a:xfrm>
        </p:spPr>
        <p:txBody>
          <a:bodyPr anchor="b"/>
          <a:lstStyle>
            <a:lvl1pPr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3574" y="8443763"/>
            <a:ext cx="18754190" cy="2760066"/>
          </a:xfrm>
        </p:spPr>
        <p:txBody>
          <a:bodyPr/>
          <a:lstStyle>
            <a:lvl1pPr marL="0" indent="0">
              <a:buNone/>
              <a:defRPr sz="4280">
                <a:solidFill>
                  <a:schemeClr val="tx1">
                    <a:tint val="75000"/>
                  </a:schemeClr>
                </a:solidFill>
              </a:defRPr>
            </a:lvl1pPr>
            <a:lvl2pPr marL="815416" indent="0">
              <a:buNone/>
              <a:defRPr sz="3567">
                <a:solidFill>
                  <a:schemeClr val="tx1">
                    <a:tint val="75000"/>
                  </a:schemeClr>
                </a:solidFill>
              </a:defRPr>
            </a:lvl2pPr>
            <a:lvl3pPr marL="1630832" indent="0">
              <a:buNone/>
              <a:defRPr sz="3210">
                <a:solidFill>
                  <a:schemeClr val="tx1">
                    <a:tint val="75000"/>
                  </a:schemeClr>
                </a:solidFill>
              </a:defRPr>
            </a:lvl3pPr>
            <a:lvl4pPr marL="2446249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4pPr>
            <a:lvl5pPr marL="3261665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5pPr>
            <a:lvl6pPr marL="4077081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6pPr>
            <a:lvl7pPr marL="4892497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7pPr>
            <a:lvl8pPr marL="5707913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8pPr>
            <a:lvl9pPr marL="6523330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97736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94899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07894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03480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1" y="671764"/>
            <a:ext cx="18754190" cy="24387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732" y="3093028"/>
            <a:ext cx="9198725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97732" y="4608874"/>
            <a:ext cx="9198725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007894" y="3093028"/>
            <a:ext cx="9244027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007894" y="4608874"/>
            <a:ext cx="9244027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2670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3490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75938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4027" y="1816680"/>
            <a:ext cx="11007894" cy="8966567"/>
          </a:xfrm>
        </p:spPr>
        <p:txBody>
          <a:bodyPr/>
          <a:lstStyle>
            <a:lvl1pPr>
              <a:defRPr sz="5707"/>
            </a:lvl1pPr>
            <a:lvl2pPr>
              <a:defRPr sz="4994"/>
            </a:lvl2pPr>
            <a:lvl3pPr>
              <a:defRPr sz="4280"/>
            </a:lvl3pPr>
            <a:lvl4pPr>
              <a:defRPr sz="3567"/>
            </a:lvl4pPr>
            <a:lvl5pPr>
              <a:defRPr sz="3567"/>
            </a:lvl5pPr>
            <a:lvl6pPr>
              <a:defRPr sz="3567"/>
            </a:lvl6pPr>
            <a:lvl7pPr>
              <a:defRPr sz="3567"/>
            </a:lvl7pPr>
            <a:lvl8pPr>
              <a:defRPr sz="3567"/>
            </a:lvl8pPr>
            <a:lvl9pPr>
              <a:defRPr sz="35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66085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244027" y="1816680"/>
            <a:ext cx="11007894" cy="8966567"/>
          </a:xfrm>
        </p:spPr>
        <p:txBody>
          <a:bodyPr anchor="t"/>
          <a:lstStyle>
            <a:lvl1pPr marL="0" indent="0">
              <a:buNone/>
              <a:defRPr sz="5707"/>
            </a:lvl1pPr>
            <a:lvl2pPr marL="815416" indent="0">
              <a:buNone/>
              <a:defRPr sz="4994"/>
            </a:lvl2pPr>
            <a:lvl3pPr marL="1630832" indent="0">
              <a:buNone/>
              <a:defRPr sz="4280"/>
            </a:lvl3pPr>
            <a:lvl4pPr marL="2446249" indent="0">
              <a:buNone/>
              <a:defRPr sz="3567"/>
            </a:lvl4pPr>
            <a:lvl5pPr marL="3261665" indent="0">
              <a:buNone/>
              <a:defRPr sz="3567"/>
            </a:lvl5pPr>
            <a:lvl6pPr marL="4077081" indent="0">
              <a:buNone/>
              <a:defRPr sz="3567"/>
            </a:lvl6pPr>
            <a:lvl7pPr marL="4892497" indent="0">
              <a:buNone/>
              <a:defRPr sz="3567"/>
            </a:lvl7pPr>
            <a:lvl8pPr marL="5707913" indent="0">
              <a:buNone/>
              <a:defRPr sz="3567"/>
            </a:lvl8pPr>
            <a:lvl9pPr marL="6523330" indent="0">
              <a:buNone/>
              <a:defRPr sz="3567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016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94899" y="671764"/>
            <a:ext cx="18754190" cy="2438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4899" y="3358812"/>
            <a:ext cx="18754190" cy="80056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4899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340F0A-5BAD-8944-A21F-3F73A1737896}" type="datetimeFigureOut">
              <a:rPr kumimoji="1" lang="zh-CN" altLang="en-US" smtClean="0"/>
              <a:t>2026/5/2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2696" y="11694508"/>
            <a:ext cx="7338596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56692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262370-8F52-D440-C7E1-FFC871DB23EC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57685219"/>
              </p:ext>
            </p:extLst>
          </p:nvPr>
        </p:nvGraphicFramePr>
        <p:xfrm>
          <a:off x="3783" y="2924"/>
          <a:ext cx="2918" cy="29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5F7AF-0385-F3CB-8E3B-F1E07DA4D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783" y="2924"/>
                        <a:ext cx="2918" cy="29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4486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1630832" rtl="0" eaLnBrk="1" latinLnBrk="0" hangingPunct="1">
        <a:lnSpc>
          <a:spcPct val="90000"/>
        </a:lnSpc>
        <a:spcBef>
          <a:spcPct val="0"/>
        </a:spcBef>
        <a:buNone/>
        <a:defRPr sz="78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7708" indent="-407708" algn="l" defTabSz="1630832" rtl="0" eaLnBrk="1" latinLnBrk="0" hangingPunct="1">
        <a:lnSpc>
          <a:spcPct val="90000"/>
        </a:lnSpc>
        <a:spcBef>
          <a:spcPts val="1784"/>
        </a:spcBef>
        <a:buFont typeface="Arial" panose="020B0604020202020204" pitchFamily="34" charset="0"/>
        <a:buChar char="•"/>
        <a:defRPr sz="4994" kern="1200">
          <a:solidFill>
            <a:schemeClr val="tx1"/>
          </a:solidFill>
          <a:latin typeface="+mn-lt"/>
          <a:ea typeface="+mn-ea"/>
          <a:cs typeface="+mn-cs"/>
        </a:defRPr>
      </a:lvl1pPr>
      <a:lvl2pPr marL="1223124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4280" kern="1200">
          <a:solidFill>
            <a:schemeClr val="tx1"/>
          </a:solidFill>
          <a:latin typeface="+mn-lt"/>
          <a:ea typeface="+mn-ea"/>
          <a:cs typeface="+mn-cs"/>
        </a:defRPr>
      </a:lvl2pPr>
      <a:lvl3pPr marL="2038541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567" kern="1200">
          <a:solidFill>
            <a:schemeClr val="tx1"/>
          </a:solidFill>
          <a:latin typeface="+mn-lt"/>
          <a:ea typeface="+mn-ea"/>
          <a:cs typeface="+mn-cs"/>
        </a:defRPr>
      </a:lvl3pPr>
      <a:lvl4pPr marL="2853957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669373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484789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5300205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6115622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931038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1pPr>
      <a:lvl2pPr marL="815416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2pPr>
      <a:lvl3pPr marL="1630832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3pPr>
      <a:lvl4pPr marL="2446249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261665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077081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4892497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5707913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52333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53" Type="http://schemas.openxmlformats.org/officeDocument/2006/relationships/tags" Target="../tags/tag55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149" Type="http://schemas.openxmlformats.org/officeDocument/2006/relationships/tags" Target="../tags/tag151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55" Type="http://schemas.openxmlformats.org/officeDocument/2006/relationships/image" Target="../media/image2.emf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24" Type="http://schemas.openxmlformats.org/officeDocument/2006/relationships/tags" Target="../tags/tag126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45" Type="http://schemas.openxmlformats.org/officeDocument/2006/relationships/tags" Target="../tags/tag14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35" Type="http://schemas.openxmlformats.org/officeDocument/2006/relationships/tags" Target="../tags/tag137.xml"/><Relationship Id="rId151" Type="http://schemas.openxmlformats.org/officeDocument/2006/relationships/tags" Target="../tags/tag153.xml"/><Relationship Id="rId156" Type="http://schemas.openxmlformats.org/officeDocument/2006/relationships/chart" Target="../charts/chart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141" Type="http://schemas.openxmlformats.org/officeDocument/2006/relationships/tags" Target="../tags/tag143.xml"/><Relationship Id="rId146" Type="http://schemas.openxmlformats.org/officeDocument/2006/relationships/tags" Target="../tags/tag14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tags" Target="../tags/tag133.xml"/><Relationship Id="rId136" Type="http://schemas.openxmlformats.org/officeDocument/2006/relationships/tags" Target="../tags/tag138.xml"/><Relationship Id="rId157" Type="http://schemas.openxmlformats.org/officeDocument/2006/relationships/chart" Target="../charts/chart2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52" Type="http://schemas.openxmlformats.org/officeDocument/2006/relationships/slideLayout" Target="../slideLayouts/slideLayout1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notesSlide" Target="../notesSlides/notesSlide1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48" Type="http://schemas.openxmlformats.org/officeDocument/2006/relationships/tags" Target="../tags/tag150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26" Type="http://schemas.openxmlformats.org/officeDocument/2006/relationships/tags" Target="../tags/tag28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oleObject" Target="../embeddings/oleObject2.bin"/><Relationship Id="rId16" Type="http://schemas.openxmlformats.org/officeDocument/2006/relationships/tags" Target="../tags/tag18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90" Type="http://schemas.openxmlformats.org/officeDocument/2006/relationships/tags" Target="../tags/tag92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249.xml"/><Relationship Id="rId21" Type="http://schemas.openxmlformats.org/officeDocument/2006/relationships/tags" Target="../tags/tag1153.xml"/><Relationship Id="rId42" Type="http://schemas.openxmlformats.org/officeDocument/2006/relationships/tags" Target="../tags/tag1174.xml"/><Relationship Id="rId47" Type="http://schemas.openxmlformats.org/officeDocument/2006/relationships/tags" Target="../tags/tag1179.xml"/><Relationship Id="rId63" Type="http://schemas.openxmlformats.org/officeDocument/2006/relationships/tags" Target="../tags/tag1195.xml"/><Relationship Id="rId68" Type="http://schemas.openxmlformats.org/officeDocument/2006/relationships/tags" Target="../tags/tag1200.xml"/><Relationship Id="rId84" Type="http://schemas.openxmlformats.org/officeDocument/2006/relationships/tags" Target="../tags/tag1216.xml"/><Relationship Id="rId89" Type="http://schemas.openxmlformats.org/officeDocument/2006/relationships/tags" Target="../tags/tag1221.xml"/><Relationship Id="rId112" Type="http://schemas.openxmlformats.org/officeDocument/2006/relationships/tags" Target="../tags/tag1244.xml"/><Relationship Id="rId16" Type="http://schemas.openxmlformats.org/officeDocument/2006/relationships/tags" Target="../tags/tag1148.xml"/><Relationship Id="rId107" Type="http://schemas.openxmlformats.org/officeDocument/2006/relationships/tags" Target="../tags/tag1239.xml"/><Relationship Id="rId11" Type="http://schemas.openxmlformats.org/officeDocument/2006/relationships/tags" Target="../tags/tag1143.xml"/><Relationship Id="rId32" Type="http://schemas.openxmlformats.org/officeDocument/2006/relationships/tags" Target="../tags/tag1164.xml"/><Relationship Id="rId37" Type="http://schemas.openxmlformats.org/officeDocument/2006/relationships/tags" Target="../tags/tag1169.xml"/><Relationship Id="rId53" Type="http://schemas.openxmlformats.org/officeDocument/2006/relationships/tags" Target="../tags/tag1185.xml"/><Relationship Id="rId58" Type="http://schemas.openxmlformats.org/officeDocument/2006/relationships/tags" Target="../tags/tag1190.xml"/><Relationship Id="rId74" Type="http://schemas.openxmlformats.org/officeDocument/2006/relationships/tags" Target="../tags/tag1206.xml"/><Relationship Id="rId79" Type="http://schemas.openxmlformats.org/officeDocument/2006/relationships/tags" Target="../tags/tag1211.xml"/><Relationship Id="rId102" Type="http://schemas.openxmlformats.org/officeDocument/2006/relationships/tags" Target="../tags/tag1234.xml"/><Relationship Id="rId123" Type="http://schemas.openxmlformats.org/officeDocument/2006/relationships/notesSlide" Target="../notesSlides/notesSlide10.xml"/><Relationship Id="rId128" Type="http://schemas.openxmlformats.org/officeDocument/2006/relationships/chart" Target="../charts/chart20.xml"/><Relationship Id="rId5" Type="http://schemas.openxmlformats.org/officeDocument/2006/relationships/tags" Target="../tags/tag1137.xml"/><Relationship Id="rId90" Type="http://schemas.openxmlformats.org/officeDocument/2006/relationships/tags" Target="../tags/tag1222.xml"/><Relationship Id="rId95" Type="http://schemas.openxmlformats.org/officeDocument/2006/relationships/tags" Target="../tags/tag1227.xml"/><Relationship Id="rId22" Type="http://schemas.openxmlformats.org/officeDocument/2006/relationships/tags" Target="../tags/tag1154.xml"/><Relationship Id="rId27" Type="http://schemas.openxmlformats.org/officeDocument/2006/relationships/tags" Target="../tags/tag1159.xml"/><Relationship Id="rId43" Type="http://schemas.openxmlformats.org/officeDocument/2006/relationships/tags" Target="../tags/tag1175.xml"/><Relationship Id="rId48" Type="http://schemas.openxmlformats.org/officeDocument/2006/relationships/tags" Target="../tags/tag1180.xml"/><Relationship Id="rId64" Type="http://schemas.openxmlformats.org/officeDocument/2006/relationships/tags" Target="../tags/tag1196.xml"/><Relationship Id="rId69" Type="http://schemas.openxmlformats.org/officeDocument/2006/relationships/tags" Target="../tags/tag1201.xml"/><Relationship Id="rId113" Type="http://schemas.openxmlformats.org/officeDocument/2006/relationships/tags" Target="../tags/tag1245.xml"/><Relationship Id="rId118" Type="http://schemas.openxmlformats.org/officeDocument/2006/relationships/tags" Target="../tags/tag1250.xml"/><Relationship Id="rId80" Type="http://schemas.openxmlformats.org/officeDocument/2006/relationships/tags" Target="../tags/tag1212.xml"/><Relationship Id="rId85" Type="http://schemas.openxmlformats.org/officeDocument/2006/relationships/tags" Target="../tags/tag1217.xml"/><Relationship Id="rId12" Type="http://schemas.openxmlformats.org/officeDocument/2006/relationships/tags" Target="../tags/tag1144.xml"/><Relationship Id="rId17" Type="http://schemas.openxmlformats.org/officeDocument/2006/relationships/tags" Target="../tags/tag1149.xml"/><Relationship Id="rId33" Type="http://schemas.openxmlformats.org/officeDocument/2006/relationships/tags" Target="../tags/tag1165.xml"/><Relationship Id="rId38" Type="http://schemas.openxmlformats.org/officeDocument/2006/relationships/tags" Target="../tags/tag1170.xml"/><Relationship Id="rId59" Type="http://schemas.openxmlformats.org/officeDocument/2006/relationships/tags" Target="../tags/tag1191.xml"/><Relationship Id="rId103" Type="http://schemas.openxmlformats.org/officeDocument/2006/relationships/tags" Target="../tags/tag1235.xml"/><Relationship Id="rId108" Type="http://schemas.openxmlformats.org/officeDocument/2006/relationships/tags" Target="../tags/tag1240.xml"/><Relationship Id="rId124" Type="http://schemas.openxmlformats.org/officeDocument/2006/relationships/oleObject" Target="../embeddings/oleObject11.bin"/><Relationship Id="rId129" Type="http://schemas.openxmlformats.org/officeDocument/2006/relationships/chart" Target="../charts/chart21.xml"/><Relationship Id="rId54" Type="http://schemas.openxmlformats.org/officeDocument/2006/relationships/tags" Target="../tags/tag1186.xml"/><Relationship Id="rId70" Type="http://schemas.openxmlformats.org/officeDocument/2006/relationships/tags" Target="../tags/tag1202.xml"/><Relationship Id="rId75" Type="http://schemas.openxmlformats.org/officeDocument/2006/relationships/tags" Target="../tags/tag1207.xml"/><Relationship Id="rId91" Type="http://schemas.openxmlformats.org/officeDocument/2006/relationships/tags" Target="../tags/tag1223.xml"/><Relationship Id="rId96" Type="http://schemas.openxmlformats.org/officeDocument/2006/relationships/tags" Target="../tags/tag1228.xml"/><Relationship Id="rId1" Type="http://schemas.openxmlformats.org/officeDocument/2006/relationships/tags" Target="../tags/tag1133.xml"/><Relationship Id="rId6" Type="http://schemas.openxmlformats.org/officeDocument/2006/relationships/tags" Target="../tags/tag1138.xml"/><Relationship Id="rId23" Type="http://schemas.openxmlformats.org/officeDocument/2006/relationships/tags" Target="../tags/tag1155.xml"/><Relationship Id="rId28" Type="http://schemas.openxmlformats.org/officeDocument/2006/relationships/tags" Target="../tags/tag1160.xml"/><Relationship Id="rId49" Type="http://schemas.openxmlformats.org/officeDocument/2006/relationships/tags" Target="../tags/tag1181.xml"/><Relationship Id="rId114" Type="http://schemas.openxmlformats.org/officeDocument/2006/relationships/tags" Target="../tags/tag1246.xml"/><Relationship Id="rId119" Type="http://schemas.openxmlformats.org/officeDocument/2006/relationships/tags" Target="../tags/tag1251.xml"/><Relationship Id="rId44" Type="http://schemas.openxmlformats.org/officeDocument/2006/relationships/tags" Target="../tags/tag1176.xml"/><Relationship Id="rId60" Type="http://schemas.openxmlformats.org/officeDocument/2006/relationships/tags" Target="../tags/tag1192.xml"/><Relationship Id="rId65" Type="http://schemas.openxmlformats.org/officeDocument/2006/relationships/tags" Target="../tags/tag1197.xml"/><Relationship Id="rId81" Type="http://schemas.openxmlformats.org/officeDocument/2006/relationships/tags" Target="../tags/tag1213.xml"/><Relationship Id="rId86" Type="http://schemas.openxmlformats.org/officeDocument/2006/relationships/tags" Target="../tags/tag1218.xml"/><Relationship Id="rId130" Type="http://schemas.openxmlformats.org/officeDocument/2006/relationships/image" Target="../media/image5.png"/><Relationship Id="rId13" Type="http://schemas.openxmlformats.org/officeDocument/2006/relationships/tags" Target="../tags/tag1145.xml"/><Relationship Id="rId18" Type="http://schemas.openxmlformats.org/officeDocument/2006/relationships/tags" Target="../tags/tag1150.xml"/><Relationship Id="rId39" Type="http://schemas.openxmlformats.org/officeDocument/2006/relationships/tags" Target="../tags/tag1171.xml"/><Relationship Id="rId109" Type="http://schemas.openxmlformats.org/officeDocument/2006/relationships/tags" Target="../tags/tag1241.xml"/><Relationship Id="rId34" Type="http://schemas.openxmlformats.org/officeDocument/2006/relationships/tags" Target="../tags/tag1166.xml"/><Relationship Id="rId50" Type="http://schemas.openxmlformats.org/officeDocument/2006/relationships/tags" Target="../tags/tag1182.xml"/><Relationship Id="rId55" Type="http://schemas.openxmlformats.org/officeDocument/2006/relationships/tags" Target="../tags/tag1187.xml"/><Relationship Id="rId76" Type="http://schemas.openxmlformats.org/officeDocument/2006/relationships/tags" Target="../tags/tag1208.xml"/><Relationship Id="rId97" Type="http://schemas.openxmlformats.org/officeDocument/2006/relationships/tags" Target="../tags/tag1229.xml"/><Relationship Id="rId104" Type="http://schemas.openxmlformats.org/officeDocument/2006/relationships/tags" Target="../tags/tag1236.xml"/><Relationship Id="rId120" Type="http://schemas.openxmlformats.org/officeDocument/2006/relationships/tags" Target="../tags/tag1252.xml"/><Relationship Id="rId125" Type="http://schemas.openxmlformats.org/officeDocument/2006/relationships/image" Target="../media/image3.emf"/><Relationship Id="rId7" Type="http://schemas.openxmlformats.org/officeDocument/2006/relationships/tags" Target="../tags/tag1139.xml"/><Relationship Id="rId71" Type="http://schemas.openxmlformats.org/officeDocument/2006/relationships/tags" Target="../tags/tag1203.xml"/><Relationship Id="rId92" Type="http://schemas.openxmlformats.org/officeDocument/2006/relationships/tags" Target="../tags/tag1224.xml"/><Relationship Id="rId2" Type="http://schemas.openxmlformats.org/officeDocument/2006/relationships/tags" Target="../tags/tag1134.xml"/><Relationship Id="rId29" Type="http://schemas.openxmlformats.org/officeDocument/2006/relationships/tags" Target="../tags/tag1161.xml"/><Relationship Id="rId24" Type="http://schemas.openxmlformats.org/officeDocument/2006/relationships/tags" Target="../tags/tag1156.xml"/><Relationship Id="rId40" Type="http://schemas.openxmlformats.org/officeDocument/2006/relationships/tags" Target="../tags/tag1172.xml"/><Relationship Id="rId45" Type="http://schemas.openxmlformats.org/officeDocument/2006/relationships/tags" Target="../tags/tag1177.xml"/><Relationship Id="rId66" Type="http://schemas.openxmlformats.org/officeDocument/2006/relationships/tags" Target="../tags/tag1198.xml"/><Relationship Id="rId87" Type="http://schemas.openxmlformats.org/officeDocument/2006/relationships/tags" Target="../tags/tag1219.xml"/><Relationship Id="rId110" Type="http://schemas.openxmlformats.org/officeDocument/2006/relationships/tags" Target="../tags/tag1242.xml"/><Relationship Id="rId115" Type="http://schemas.openxmlformats.org/officeDocument/2006/relationships/tags" Target="../tags/tag1247.xml"/><Relationship Id="rId61" Type="http://schemas.openxmlformats.org/officeDocument/2006/relationships/tags" Target="../tags/tag1193.xml"/><Relationship Id="rId82" Type="http://schemas.openxmlformats.org/officeDocument/2006/relationships/tags" Target="../tags/tag1214.xml"/><Relationship Id="rId19" Type="http://schemas.openxmlformats.org/officeDocument/2006/relationships/tags" Target="../tags/tag1151.xml"/><Relationship Id="rId14" Type="http://schemas.openxmlformats.org/officeDocument/2006/relationships/tags" Target="../tags/tag1146.xml"/><Relationship Id="rId30" Type="http://schemas.openxmlformats.org/officeDocument/2006/relationships/tags" Target="../tags/tag1162.xml"/><Relationship Id="rId35" Type="http://schemas.openxmlformats.org/officeDocument/2006/relationships/tags" Target="../tags/tag1167.xml"/><Relationship Id="rId56" Type="http://schemas.openxmlformats.org/officeDocument/2006/relationships/tags" Target="../tags/tag1188.xml"/><Relationship Id="rId77" Type="http://schemas.openxmlformats.org/officeDocument/2006/relationships/tags" Target="../tags/tag1209.xml"/><Relationship Id="rId100" Type="http://schemas.openxmlformats.org/officeDocument/2006/relationships/tags" Target="../tags/tag1232.xml"/><Relationship Id="rId105" Type="http://schemas.openxmlformats.org/officeDocument/2006/relationships/tags" Target="../tags/tag1237.xml"/><Relationship Id="rId126" Type="http://schemas.openxmlformats.org/officeDocument/2006/relationships/chart" Target="../charts/chart18.xml"/><Relationship Id="rId8" Type="http://schemas.openxmlformats.org/officeDocument/2006/relationships/tags" Target="../tags/tag1140.xml"/><Relationship Id="rId51" Type="http://schemas.openxmlformats.org/officeDocument/2006/relationships/tags" Target="../tags/tag1183.xml"/><Relationship Id="rId72" Type="http://schemas.openxmlformats.org/officeDocument/2006/relationships/tags" Target="../tags/tag1204.xml"/><Relationship Id="rId93" Type="http://schemas.openxmlformats.org/officeDocument/2006/relationships/tags" Target="../tags/tag1225.xml"/><Relationship Id="rId98" Type="http://schemas.openxmlformats.org/officeDocument/2006/relationships/tags" Target="../tags/tag1230.xml"/><Relationship Id="rId121" Type="http://schemas.openxmlformats.org/officeDocument/2006/relationships/tags" Target="../tags/tag1253.xml"/><Relationship Id="rId3" Type="http://schemas.openxmlformats.org/officeDocument/2006/relationships/tags" Target="../tags/tag1135.xml"/><Relationship Id="rId25" Type="http://schemas.openxmlformats.org/officeDocument/2006/relationships/tags" Target="../tags/tag1157.xml"/><Relationship Id="rId46" Type="http://schemas.openxmlformats.org/officeDocument/2006/relationships/tags" Target="../tags/tag1178.xml"/><Relationship Id="rId67" Type="http://schemas.openxmlformats.org/officeDocument/2006/relationships/tags" Target="../tags/tag1199.xml"/><Relationship Id="rId116" Type="http://schemas.openxmlformats.org/officeDocument/2006/relationships/tags" Target="../tags/tag1248.xml"/><Relationship Id="rId20" Type="http://schemas.openxmlformats.org/officeDocument/2006/relationships/tags" Target="../tags/tag1152.xml"/><Relationship Id="rId41" Type="http://schemas.openxmlformats.org/officeDocument/2006/relationships/tags" Target="../tags/tag1173.xml"/><Relationship Id="rId62" Type="http://schemas.openxmlformats.org/officeDocument/2006/relationships/tags" Target="../tags/tag1194.xml"/><Relationship Id="rId83" Type="http://schemas.openxmlformats.org/officeDocument/2006/relationships/tags" Target="../tags/tag1215.xml"/><Relationship Id="rId88" Type="http://schemas.openxmlformats.org/officeDocument/2006/relationships/tags" Target="../tags/tag1220.xml"/><Relationship Id="rId111" Type="http://schemas.openxmlformats.org/officeDocument/2006/relationships/tags" Target="../tags/tag1243.xml"/><Relationship Id="rId15" Type="http://schemas.openxmlformats.org/officeDocument/2006/relationships/tags" Target="../tags/tag1147.xml"/><Relationship Id="rId36" Type="http://schemas.openxmlformats.org/officeDocument/2006/relationships/tags" Target="../tags/tag1168.xml"/><Relationship Id="rId57" Type="http://schemas.openxmlformats.org/officeDocument/2006/relationships/tags" Target="../tags/tag1189.xml"/><Relationship Id="rId106" Type="http://schemas.openxmlformats.org/officeDocument/2006/relationships/tags" Target="../tags/tag1238.xml"/><Relationship Id="rId127" Type="http://schemas.openxmlformats.org/officeDocument/2006/relationships/chart" Target="../charts/chart19.xml"/><Relationship Id="rId10" Type="http://schemas.openxmlformats.org/officeDocument/2006/relationships/tags" Target="../tags/tag1142.xml"/><Relationship Id="rId31" Type="http://schemas.openxmlformats.org/officeDocument/2006/relationships/tags" Target="../tags/tag1163.xml"/><Relationship Id="rId52" Type="http://schemas.openxmlformats.org/officeDocument/2006/relationships/tags" Target="../tags/tag1184.xml"/><Relationship Id="rId73" Type="http://schemas.openxmlformats.org/officeDocument/2006/relationships/tags" Target="../tags/tag1205.xml"/><Relationship Id="rId78" Type="http://schemas.openxmlformats.org/officeDocument/2006/relationships/tags" Target="../tags/tag1210.xml"/><Relationship Id="rId94" Type="http://schemas.openxmlformats.org/officeDocument/2006/relationships/tags" Target="../tags/tag1226.xml"/><Relationship Id="rId99" Type="http://schemas.openxmlformats.org/officeDocument/2006/relationships/tags" Target="../tags/tag1231.xml"/><Relationship Id="rId101" Type="http://schemas.openxmlformats.org/officeDocument/2006/relationships/tags" Target="../tags/tag1233.xml"/><Relationship Id="rId122" Type="http://schemas.openxmlformats.org/officeDocument/2006/relationships/slideLayout" Target="../slideLayouts/slideLayout2.xml"/><Relationship Id="rId4" Type="http://schemas.openxmlformats.org/officeDocument/2006/relationships/tags" Target="../tags/tag1136.xml"/><Relationship Id="rId9" Type="http://schemas.openxmlformats.org/officeDocument/2006/relationships/tags" Target="../tags/tag1141.xml"/><Relationship Id="rId26" Type="http://schemas.openxmlformats.org/officeDocument/2006/relationships/tags" Target="../tags/tag1158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279.xml"/><Relationship Id="rId21" Type="http://schemas.openxmlformats.org/officeDocument/2006/relationships/tags" Target="../tags/tag1274.xml"/><Relationship Id="rId42" Type="http://schemas.openxmlformats.org/officeDocument/2006/relationships/tags" Target="../tags/tag1295.xml"/><Relationship Id="rId47" Type="http://schemas.openxmlformats.org/officeDocument/2006/relationships/tags" Target="../tags/tag1300.xml"/><Relationship Id="rId63" Type="http://schemas.openxmlformats.org/officeDocument/2006/relationships/tags" Target="../tags/tag1316.xml"/><Relationship Id="rId68" Type="http://schemas.openxmlformats.org/officeDocument/2006/relationships/tags" Target="../tags/tag1321.xml"/><Relationship Id="rId84" Type="http://schemas.openxmlformats.org/officeDocument/2006/relationships/tags" Target="../tags/tag1337.xml"/><Relationship Id="rId89" Type="http://schemas.openxmlformats.org/officeDocument/2006/relationships/tags" Target="../tags/tag1342.xml"/><Relationship Id="rId112" Type="http://schemas.openxmlformats.org/officeDocument/2006/relationships/chart" Target="../charts/chart22.xml"/><Relationship Id="rId16" Type="http://schemas.openxmlformats.org/officeDocument/2006/relationships/tags" Target="../tags/tag1269.xml"/><Relationship Id="rId107" Type="http://schemas.openxmlformats.org/officeDocument/2006/relationships/tags" Target="../tags/tag1360.xml"/><Relationship Id="rId11" Type="http://schemas.openxmlformats.org/officeDocument/2006/relationships/tags" Target="../tags/tag1264.xml"/><Relationship Id="rId32" Type="http://schemas.openxmlformats.org/officeDocument/2006/relationships/tags" Target="../tags/tag1285.xml"/><Relationship Id="rId37" Type="http://schemas.openxmlformats.org/officeDocument/2006/relationships/tags" Target="../tags/tag1290.xml"/><Relationship Id="rId53" Type="http://schemas.openxmlformats.org/officeDocument/2006/relationships/tags" Target="../tags/tag1306.xml"/><Relationship Id="rId58" Type="http://schemas.openxmlformats.org/officeDocument/2006/relationships/tags" Target="../tags/tag1311.xml"/><Relationship Id="rId74" Type="http://schemas.openxmlformats.org/officeDocument/2006/relationships/tags" Target="../tags/tag1327.xml"/><Relationship Id="rId79" Type="http://schemas.openxmlformats.org/officeDocument/2006/relationships/tags" Target="../tags/tag1332.xml"/><Relationship Id="rId102" Type="http://schemas.openxmlformats.org/officeDocument/2006/relationships/tags" Target="../tags/tag1355.xml"/><Relationship Id="rId5" Type="http://schemas.openxmlformats.org/officeDocument/2006/relationships/tags" Target="../tags/tag1258.xml"/><Relationship Id="rId90" Type="http://schemas.openxmlformats.org/officeDocument/2006/relationships/tags" Target="../tags/tag1343.xml"/><Relationship Id="rId95" Type="http://schemas.openxmlformats.org/officeDocument/2006/relationships/tags" Target="../tags/tag1348.xml"/><Relationship Id="rId22" Type="http://schemas.openxmlformats.org/officeDocument/2006/relationships/tags" Target="../tags/tag1275.xml"/><Relationship Id="rId27" Type="http://schemas.openxmlformats.org/officeDocument/2006/relationships/tags" Target="../tags/tag1280.xml"/><Relationship Id="rId43" Type="http://schemas.openxmlformats.org/officeDocument/2006/relationships/tags" Target="../tags/tag1296.xml"/><Relationship Id="rId48" Type="http://schemas.openxmlformats.org/officeDocument/2006/relationships/tags" Target="../tags/tag1301.xml"/><Relationship Id="rId64" Type="http://schemas.openxmlformats.org/officeDocument/2006/relationships/tags" Target="../tags/tag1317.xml"/><Relationship Id="rId69" Type="http://schemas.openxmlformats.org/officeDocument/2006/relationships/tags" Target="../tags/tag1322.xml"/><Relationship Id="rId113" Type="http://schemas.openxmlformats.org/officeDocument/2006/relationships/chart" Target="../charts/chart23.xml"/><Relationship Id="rId80" Type="http://schemas.openxmlformats.org/officeDocument/2006/relationships/tags" Target="../tags/tag1333.xml"/><Relationship Id="rId85" Type="http://schemas.openxmlformats.org/officeDocument/2006/relationships/tags" Target="../tags/tag1338.xml"/><Relationship Id="rId12" Type="http://schemas.openxmlformats.org/officeDocument/2006/relationships/tags" Target="../tags/tag1265.xml"/><Relationship Id="rId17" Type="http://schemas.openxmlformats.org/officeDocument/2006/relationships/tags" Target="../tags/tag1270.xml"/><Relationship Id="rId33" Type="http://schemas.openxmlformats.org/officeDocument/2006/relationships/tags" Target="../tags/tag1286.xml"/><Relationship Id="rId38" Type="http://schemas.openxmlformats.org/officeDocument/2006/relationships/tags" Target="../tags/tag1291.xml"/><Relationship Id="rId59" Type="http://schemas.openxmlformats.org/officeDocument/2006/relationships/tags" Target="../tags/tag1312.xml"/><Relationship Id="rId103" Type="http://schemas.openxmlformats.org/officeDocument/2006/relationships/tags" Target="../tags/tag1356.xml"/><Relationship Id="rId108" Type="http://schemas.openxmlformats.org/officeDocument/2006/relationships/slideLayout" Target="../slideLayouts/slideLayout2.xml"/><Relationship Id="rId54" Type="http://schemas.openxmlformats.org/officeDocument/2006/relationships/tags" Target="../tags/tag1307.xml"/><Relationship Id="rId70" Type="http://schemas.openxmlformats.org/officeDocument/2006/relationships/tags" Target="../tags/tag1323.xml"/><Relationship Id="rId75" Type="http://schemas.openxmlformats.org/officeDocument/2006/relationships/tags" Target="../tags/tag1328.xml"/><Relationship Id="rId91" Type="http://schemas.openxmlformats.org/officeDocument/2006/relationships/tags" Target="../tags/tag1344.xml"/><Relationship Id="rId96" Type="http://schemas.openxmlformats.org/officeDocument/2006/relationships/tags" Target="../tags/tag1349.xml"/><Relationship Id="rId1" Type="http://schemas.openxmlformats.org/officeDocument/2006/relationships/tags" Target="../tags/tag1254.xml"/><Relationship Id="rId6" Type="http://schemas.openxmlformats.org/officeDocument/2006/relationships/tags" Target="../tags/tag1259.xml"/><Relationship Id="rId15" Type="http://schemas.openxmlformats.org/officeDocument/2006/relationships/tags" Target="../tags/tag1268.xml"/><Relationship Id="rId23" Type="http://schemas.openxmlformats.org/officeDocument/2006/relationships/tags" Target="../tags/tag1276.xml"/><Relationship Id="rId28" Type="http://schemas.openxmlformats.org/officeDocument/2006/relationships/tags" Target="../tags/tag1281.xml"/><Relationship Id="rId36" Type="http://schemas.openxmlformats.org/officeDocument/2006/relationships/tags" Target="../tags/tag1289.xml"/><Relationship Id="rId49" Type="http://schemas.openxmlformats.org/officeDocument/2006/relationships/tags" Target="../tags/tag1302.xml"/><Relationship Id="rId57" Type="http://schemas.openxmlformats.org/officeDocument/2006/relationships/tags" Target="../tags/tag1310.xml"/><Relationship Id="rId106" Type="http://schemas.openxmlformats.org/officeDocument/2006/relationships/tags" Target="../tags/tag1359.xml"/><Relationship Id="rId114" Type="http://schemas.openxmlformats.org/officeDocument/2006/relationships/chart" Target="../charts/chart24.xml"/><Relationship Id="rId10" Type="http://schemas.openxmlformats.org/officeDocument/2006/relationships/tags" Target="../tags/tag1263.xml"/><Relationship Id="rId31" Type="http://schemas.openxmlformats.org/officeDocument/2006/relationships/tags" Target="../tags/tag1284.xml"/><Relationship Id="rId44" Type="http://schemas.openxmlformats.org/officeDocument/2006/relationships/tags" Target="../tags/tag1297.xml"/><Relationship Id="rId52" Type="http://schemas.openxmlformats.org/officeDocument/2006/relationships/tags" Target="../tags/tag1305.xml"/><Relationship Id="rId60" Type="http://schemas.openxmlformats.org/officeDocument/2006/relationships/tags" Target="../tags/tag1313.xml"/><Relationship Id="rId65" Type="http://schemas.openxmlformats.org/officeDocument/2006/relationships/tags" Target="../tags/tag1318.xml"/><Relationship Id="rId73" Type="http://schemas.openxmlformats.org/officeDocument/2006/relationships/tags" Target="../tags/tag1326.xml"/><Relationship Id="rId78" Type="http://schemas.openxmlformats.org/officeDocument/2006/relationships/tags" Target="../tags/tag1331.xml"/><Relationship Id="rId81" Type="http://schemas.openxmlformats.org/officeDocument/2006/relationships/tags" Target="../tags/tag1334.xml"/><Relationship Id="rId86" Type="http://schemas.openxmlformats.org/officeDocument/2006/relationships/tags" Target="../tags/tag1339.xml"/><Relationship Id="rId94" Type="http://schemas.openxmlformats.org/officeDocument/2006/relationships/tags" Target="../tags/tag1347.xml"/><Relationship Id="rId99" Type="http://schemas.openxmlformats.org/officeDocument/2006/relationships/tags" Target="../tags/tag1352.xml"/><Relationship Id="rId101" Type="http://schemas.openxmlformats.org/officeDocument/2006/relationships/tags" Target="../tags/tag1354.xml"/><Relationship Id="rId4" Type="http://schemas.openxmlformats.org/officeDocument/2006/relationships/tags" Target="../tags/tag1257.xml"/><Relationship Id="rId9" Type="http://schemas.openxmlformats.org/officeDocument/2006/relationships/tags" Target="../tags/tag1262.xml"/><Relationship Id="rId13" Type="http://schemas.openxmlformats.org/officeDocument/2006/relationships/tags" Target="../tags/tag1266.xml"/><Relationship Id="rId18" Type="http://schemas.openxmlformats.org/officeDocument/2006/relationships/tags" Target="../tags/tag1271.xml"/><Relationship Id="rId39" Type="http://schemas.openxmlformats.org/officeDocument/2006/relationships/tags" Target="../tags/tag1292.xml"/><Relationship Id="rId109" Type="http://schemas.openxmlformats.org/officeDocument/2006/relationships/notesSlide" Target="../notesSlides/notesSlide11.xml"/><Relationship Id="rId34" Type="http://schemas.openxmlformats.org/officeDocument/2006/relationships/tags" Target="../tags/tag1287.xml"/><Relationship Id="rId50" Type="http://schemas.openxmlformats.org/officeDocument/2006/relationships/tags" Target="../tags/tag1303.xml"/><Relationship Id="rId55" Type="http://schemas.openxmlformats.org/officeDocument/2006/relationships/tags" Target="../tags/tag1308.xml"/><Relationship Id="rId76" Type="http://schemas.openxmlformats.org/officeDocument/2006/relationships/tags" Target="../tags/tag1329.xml"/><Relationship Id="rId97" Type="http://schemas.openxmlformats.org/officeDocument/2006/relationships/tags" Target="../tags/tag1350.xml"/><Relationship Id="rId104" Type="http://schemas.openxmlformats.org/officeDocument/2006/relationships/tags" Target="../tags/tag1357.xml"/><Relationship Id="rId7" Type="http://schemas.openxmlformats.org/officeDocument/2006/relationships/tags" Target="../tags/tag1260.xml"/><Relationship Id="rId71" Type="http://schemas.openxmlformats.org/officeDocument/2006/relationships/tags" Target="../tags/tag1324.xml"/><Relationship Id="rId92" Type="http://schemas.openxmlformats.org/officeDocument/2006/relationships/tags" Target="../tags/tag1345.xml"/><Relationship Id="rId2" Type="http://schemas.openxmlformats.org/officeDocument/2006/relationships/tags" Target="../tags/tag1255.xml"/><Relationship Id="rId29" Type="http://schemas.openxmlformats.org/officeDocument/2006/relationships/tags" Target="../tags/tag1282.xml"/><Relationship Id="rId24" Type="http://schemas.openxmlformats.org/officeDocument/2006/relationships/tags" Target="../tags/tag1277.xml"/><Relationship Id="rId40" Type="http://schemas.openxmlformats.org/officeDocument/2006/relationships/tags" Target="../tags/tag1293.xml"/><Relationship Id="rId45" Type="http://schemas.openxmlformats.org/officeDocument/2006/relationships/tags" Target="../tags/tag1298.xml"/><Relationship Id="rId66" Type="http://schemas.openxmlformats.org/officeDocument/2006/relationships/tags" Target="../tags/tag1319.xml"/><Relationship Id="rId87" Type="http://schemas.openxmlformats.org/officeDocument/2006/relationships/tags" Target="../tags/tag1340.xml"/><Relationship Id="rId110" Type="http://schemas.openxmlformats.org/officeDocument/2006/relationships/oleObject" Target="../embeddings/oleObject12.bin"/><Relationship Id="rId115" Type="http://schemas.openxmlformats.org/officeDocument/2006/relationships/chart" Target="../charts/chart25.xml"/><Relationship Id="rId61" Type="http://schemas.openxmlformats.org/officeDocument/2006/relationships/tags" Target="../tags/tag1314.xml"/><Relationship Id="rId82" Type="http://schemas.openxmlformats.org/officeDocument/2006/relationships/tags" Target="../tags/tag1335.xml"/><Relationship Id="rId19" Type="http://schemas.openxmlformats.org/officeDocument/2006/relationships/tags" Target="../tags/tag1272.xml"/><Relationship Id="rId14" Type="http://schemas.openxmlformats.org/officeDocument/2006/relationships/tags" Target="../tags/tag1267.xml"/><Relationship Id="rId30" Type="http://schemas.openxmlformats.org/officeDocument/2006/relationships/tags" Target="../tags/tag1283.xml"/><Relationship Id="rId35" Type="http://schemas.openxmlformats.org/officeDocument/2006/relationships/tags" Target="../tags/tag1288.xml"/><Relationship Id="rId56" Type="http://schemas.openxmlformats.org/officeDocument/2006/relationships/tags" Target="../tags/tag1309.xml"/><Relationship Id="rId77" Type="http://schemas.openxmlformats.org/officeDocument/2006/relationships/tags" Target="../tags/tag1330.xml"/><Relationship Id="rId100" Type="http://schemas.openxmlformats.org/officeDocument/2006/relationships/tags" Target="../tags/tag1353.xml"/><Relationship Id="rId105" Type="http://schemas.openxmlformats.org/officeDocument/2006/relationships/tags" Target="../tags/tag1358.xml"/><Relationship Id="rId8" Type="http://schemas.openxmlformats.org/officeDocument/2006/relationships/tags" Target="../tags/tag1261.xml"/><Relationship Id="rId51" Type="http://schemas.openxmlformats.org/officeDocument/2006/relationships/tags" Target="../tags/tag1304.xml"/><Relationship Id="rId72" Type="http://schemas.openxmlformats.org/officeDocument/2006/relationships/tags" Target="../tags/tag1325.xml"/><Relationship Id="rId93" Type="http://schemas.openxmlformats.org/officeDocument/2006/relationships/tags" Target="../tags/tag1346.xml"/><Relationship Id="rId98" Type="http://schemas.openxmlformats.org/officeDocument/2006/relationships/tags" Target="../tags/tag1351.xml"/><Relationship Id="rId3" Type="http://schemas.openxmlformats.org/officeDocument/2006/relationships/tags" Target="../tags/tag1256.xml"/><Relationship Id="rId25" Type="http://schemas.openxmlformats.org/officeDocument/2006/relationships/tags" Target="../tags/tag1278.xml"/><Relationship Id="rId46" Type="http://schemas.openxmlformats.org/officeDocument/2006/relationships/tags" Target="../tags/tag1299.xml"/><Relationship Id="rId67" Type="http://schemas.openxmlformats.org/officeDocument/2006/relationships/tags" Target="../tags/tag1320.xml"/><Relationship Id="rId116" Type="http://schemas.openxmlformats.org/officeDocument/2006/relationships/image" Target="../media/image6.png"/><Relationship Id="rId20" Type="http://schemas.openxmlformats.org/officeDocument/2006/relationships/tags" Target="../tags/tag1273.xml"/><Relationship Id="rId41" Type="http://schemas.openxmlformats.org/officeDocument/2006/relationships/tags" Target="../tags/tag1294.xml"/><Relationship Id="rId62" Type="http://schemas.openxmlformats.org/officeDocument/2006/relationships/tags" Target="../tags/tag1315.xml"/><Relationship Id="rId83" Type="http://schemas.openxmlformats.org/officeDocument/2006/relationships/tags" Target="../tags/tag1336.xml"/><Relationship Id="rId88" Type="http://schemas.openxmlformats.org/officeDocument/2006/relationships/tags" Target="../tags/tag1341.xml"/><Relationship Id="rId111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1386.xml"/><Relationship Id="rId117" Type="http://schemas.openxmlformats.org/officeDocument/2006/relationships/tags" Target="../tags/tag1477.xml"/><Relationship Id="rId21" Type="http://schemas.openxmlformats.org/officeDocument/2006/relationships/tags" Target="../tags/tag1381.xml"/><Relationship Id="rId42" Type="http://schemas.openxmlformats.org/officeDocument/2006/relationships/tags" Target="../tags/tag1402.xml"/><Relationship Id="rId47" Type="http://schemas.openxmlformats.org/officeDocument/2006/relationships/tags" Target="../tags/tag1407.xml"/><Relationship Id="rId63" Type="http://schemas.openxmlformats.org/officeDocument/2006/relationships/tags" Target="../tags/tag1423.xml"/><Relationship Id="rId68" Type="http://schemas.openxmlformats.org/officeDocument/2006/relationships/tags" Target="../tags/tag1428.xml"/><Relationship Id="rId84" Type="http://schemas.openxmlformats.org/officeDocument/2006/relationships/tags" Target="../tags/tag1444.xml"/><Relationship Id="rId89" Type="http://schemas.openxmlformats.org/officeDocument/2006/relationships/tags" Target="../tags/tag1449.xml"/><Relationship Id="rId112" Type="http://schemas.openxmlformats.org/officeDocument/2006/relationships/tags" Target="../tags/tag1472.xml"/><Relationship Id="rId16" Type="http://schemas.openxmlformats.org/officeDocument/2006/relationships/tags" Target="../tags/tag1376.xml"/><Relationship Id="rId107" Type="http://schemas.openxmlformats.org/officeDocument/2006/relationships/tags" Target="../tags/tag1467.xml"/><Relationship Id="rId11" Type="http://schemas.openxmlformats.org/officeDocument/2006/relationships/tags" Target="../tags/tag1371.xml"/><Relationship Id="rId32" Type="http://schemas.openxmlformats.org/officeDocument/2006/relationships/tags" Target="../tags/tag1392.xml"/><Relationship Id="rId37" Type="http://schemas.openxmlformats.org/officeDocument/2006/relationships/tags" Target="../tags/tag1397.xml"/><Relationship Id="rId53" Type="http://schemas.openxmlformats.org/officeDocument/2006/relationships/tags" Target="../tags/tag1413.xml"/><Relationship Id="rId58" Type="http://schemas.openxmlformats.org/officeDocument/2006/relationships/tags" Target="../tags/tag1418.xml"/><Relationship Id="rId74" Type="http://schemas.openxmlformats.org/officeDocument/2006/relationships/tags" Target="../tags/tag1434.xml"/><Relationship Id="rId79" Type="http://schemas.openxmlformats.org/officeDocument/2006/relationships/tags" Target="../tags/tag1439.xml"/><Relationship Id="rId102" Type="http://schemas.openxmlformats.org/officeDocument/2006/relationships/tags" Target="../tags/tag1462.xml"/><Relationship Id="rId123" Type="http://schemas.openxmlformats.org/officeDocument/2006/relationships/image" Target="../media/image3.emf"/><Relationship Id="rId5" Type="http://schemas.openxmlformats.org/officeDocument/2006/relationships/tags" Target="../tags/tag1365.xml"/><Relationship Id="rId90" Type="http://schemas.openxmlformats.org/officeDocument/2006/relationships/tags" Target="../tags/tag1450.xml"/><Relationship Id="rId95" Type="http://schemas.openxmlformats.org/officeDocument/2006/relationships/tags" Target="../tags/tag1455.xml"/><Relationship Id="rId22" Type="http://schemas.openxmlformats.org/officeDocument/2006/relationships/tags" Target="../tags/tag1382.xml"/><Relationship Id="rId27" Type="http://schemas.openxmlformats.org/officeDocument/2006/relationships/tags" Target="../tags/tag1387.xml"/><Relationship Id="rId43" Type="http://schemas.openxmlformats.org/officeDocument/2006/relationships/tags" Target="../tags/tag1403.xml"/><Relationship Id="rId48" Type="http://schemas.openxmlformats.org/officeDocument/2006/relationships/tags" Target="../tags/tag1408.xml"/><Relationship Id="rId64" Type="http://schemas.openxmlformats.org/officeDocument/2006/relationships/tags" Target="../tags/tag1424.xml"/><Relationship Id="rId69" Type="http://schemas.openxmlformats.org/officeDocument/2006/relationships/tags" Target="../tags/tag1429.xml"/><Relationship Id="rId113" Type="http://schemas.openxmlformats.org/officeDocument/2006/relationships/tags" Target="../tags/tag1473.xml"/><Relationship Id="rId118" Type="http://schemas.openxmlformats.org/officeDocument/2006/relationships/tags" Target="../tags/tag1478.xml"/><Relationship Id="rId80" Type="http://schemas.openxmlformats.org/officeDocument/2006/relationships/tags" Target="../tags/tag1440.xml"/><Relationship Id="rId85" Type="http://schemas.openxmlformats.org/officeDocument/2006/relationships/tags" Target="../tags/tag1445.xml"/><Relationship Id="rId12" Type="http://schemas.openxmlformats.org/officeDocument/2006/relationships/tags" Target="../tags/tag1372.xml"/><Relationship Id="rId17" Type="http://schemas.openxmlformats.org/officeDocument/2006/relationships/tags" Target="../tags/tag1377.xml"/><Relationship Id="rId33" Type="http://schemas.openxmlformats.org/officeDocument/2006/relationships/tags" Target="../tags/tag1393.xml"/><Relationship Id="rId38" Type="http://schemas.openxmlformats.org/officeDocument/2006/relationships/tags" Target="../tags/tag1398.xml"/><Relationship Id="rId59" Type="http://schemas.openxmlformats.org/officeDocument/2006/relationships/tags" Target="../tags/tag1419.xml"/><Relationship Id="rId103" Type="http://schemas.openxmlformats.org/officeDocument/2006/relationships/tags" Target="../tags/tag1463.xml"/><Relationship Id="rId108" Type="http://schemas.openxmlformats.org/officeDocument/2006/relationships/tags" Target="../tags/tag1468.xml"/><Relationship Id="rId124" Type="http://schemas.openxmlformats.org/officeDocument/2006/relationships/chart" Target="../charts/chart26.xml"/><Relationship Id="rId54" Type="http://schemas.openxmlformats.org/officeDocument/2006/relationships/tags" Target="../tags/tag1414.xml"/><Relationship Id="rId70" Type="http://schemas.openxmlformats.org/officeDocument/2006/relationships/tags" Target="../tags/tag1430.xml"/><Relationship Id="rId75" Type="http://schemas.openxmlformats.org/officeDocument/2006/relationships/tags" Target="../tags/tag1435.xml"/><Relationship Id="rId91" Type="http://schemas.openxmlformats.org/officeDocument/2006/relationships/tags" Target="../tags/tag1451.xml"/><Relationship Id="rId96" Type="http://schemas.openxmlformats.org/officeDocument/2006/relationships/tags" Target="../tags/tag1456.xml"/><Relationship Id="rId1" Type="http://schemas.openxmlformats.org/officeDocument/2006/relationships/tags" Target="../tags/tag1361.xml"/><Relationship Id="rId6" Type="http://schemas.openxmlformats.org/officeDocument/2006/relationships/tags" Target="../tags/tag1366.xml"/><Relationship Id="rId23" Type="http://schemas.openxmlformats.org/officeDocument/2006/relationships/tags" Target="../tags/tag1383.xml"/><Relationship Id="rId28" Type="http://schemas.openxmlformats.org/officeDocument/2006/relationships/tags" Target="../tags/tag1388.xml"/><Relationship Id="rId49" Type="http://schemas.openxmlformats.org/officeDocument/2006/relationships/tags" Target="../tags/tag1409.xml"/><Relationship Id="rId114" Type="http://schemas.openxmlformats.org/officeDocument/2006/relationships/tags" Target="../tags/tag1474.xml"/><Relationship Id="rId119" Type="http://schemas.openxmlformats.org/officeDocument/2006/relationships/tags" Target="../tags/tag1479.xml"/><Relationship Id="rId44" Type="http://schemas.openxmlformats.org/officeDocument/2006/relationships/tags" Target="../tags/tag1404.xml"/><Relationship Id="rId60" Type="http://schemas.openxmlformats.org/officeDocument/2006/relationships/tags" Target="../tags/tag1420.xml"/><Relationship Id="rId65" Type="http://schemas.openxmlformats.org/officeDocument/2006/relationships/tags" Target="../tags/tag1425.xml"/><Relationship Id="rId81" Type="http://schemas.openxmlformats.org/officeDocument/2006/relationships/tags" Target="../tags/tag1441.xml"/><Relationship Id="rId86" Type="http://schemas.openxmlformats.org/officeDocument/2006/relationships/tags" Target="../tags/tag1446.xml"/><Relationship Id="rId13" Type="http://schemas.openxmlformats.org/officeDocument/2006/relationships/tags" Target="../tags/tag1373.xml"/><Relationship Id="rId18" Type="http://schemas.openxmlformats.org/officeDocument/2006/relationships/tags" Target="../tags/tag1378.xml"/><Relationship Id="rId39" Type="http://schemas.openxmlformats.org/officeDocument/2006/relationships/tags" Target="../tags/tag1399.xml"/><Relationship Id="rId109" Type="http://schemas.openxmlformats.org/officeDocument/2006/relationships/tags" Target="../tags/tag1469.xml"/><Relationship Id="rId34" Type="http://schemas.openxmlformats.org/officeDocument/2006/relationships/tags" Target="../tags/tag1394.xml"/><Relationship Id="rId50" Type="http://schemas.openxmlformats.org/officeDocument/2006/relationships/tags" Target="../tags/tag1410.xml"/><Relationship Id="rId55" Type="http://schemas.openxmlformats.org/officeDocument/2006/relationships/tags" Target="../tags/tag1415.xml"/><Relationship Id="rId76" Type="http://schemas.openxmlformats.org/officeDocument/2006/relationships/tags" Target="../tags/tag1436.xml"/><Relationship Id="rId97" Type="http://schemas.openxmlformats.org/officeDocument/2006/relationships/tags" Target="../tags/tag1457.xml"/><Relationship Id="rId104" Type="http://schemas.openxmlformats.org/officeDocument/2006/relationships/tags" Target="../tags/tag1464.xml"/><Relationship Id="rId120" Type="http://schemas.openxmlformats.org/officeDocument/2006/relationships/slideLayout" Target="../slideLayouts/slideLayout2.xml"/><Relationship Id="rId125" Type="http://schemas.openxmlformats.org/officeDocument/2006/relationships/chart" Target="../charts/chart27.xml"/><Relationship Id="rId7" Type="http://schemas.openxmlformats.org/officeDocument/2006/relationships/tags" Target="../tags/tag1367.xml"/><Relationship Id="rId71" Type="http://schemas.openxmlformats.org/officeDocument/2006/relationships/tags" Target="../tags/tag1431.xml"/><Relationship Id="rId92" Type="http://schemas.openxmlformats.org/officeDocument/2006/relationships/tags" Target="../tags/tag1452.xml"/><Relationship Id="rId2" Type="http://schemas.openxmlformats.org/officeDocument/2006/relationships/tags" Target="../tags/tag1362.xml"/><Relationship Id="rId29" Type="http://schemas.openxmlformats.org/officeDocument/2006/relationships/tags" Target="../tags/tag1389.xml"/><Relationship Id="rId24" Type="http://schemas.openxmlformats.org/officeDocument/2006/relationships/tags" Target="../tags/tag1384.xml"/><Relationship Id="rId40" Type="http://schemas.openxmlformats.org/officeDocument/2006/relationships/tags" Target="../tags/tag1400.xml"/><Relationship Id="rId45" Type="http://schemas.openxmlformats.org/officeDocument/2006/relationships/tags" Target="../tags/tag1405.xml"/><Relationship Id="rId66" Type="http://schemas.openxmlformats.org/officeDocument/2006/relationships/tags" Target="../tags/tag1426.xml"/><Relationship Id="rId87" Type="http://schemas.openxmlformats.org/officeDocument/2006/relationships/tags" Target="../tags/tag1447.xml"/><Relationship Id="rId110" Type="http://schemas.openxmlformats.org/officeDocument/2006/relationships/tags" Target="../tags/tag1470.xml"/><Relationship Id="rId115" Type="http://schemas.openxmlformats.org/officeDocument/2006/relationships/tags" Target="../tags/tag1475.xml"/><Relationship Id="rId61" Type="http://schemas.openxmlformats.org/officeDocument/2006/relationships/tags" Target="../tags/tag1421.xml"/><Relationship Id="rId82" Type="http://schemas.openxmlformats.org/officeDocument/2006/relationships/tags" Target="../tags/tag1442.xml"/><Relationship Id="rId19" Type="http://schemas.openxmlformats.org/officeDocument/2006/relationships/tags" Target="../tags/tag1379.xml"/><Relationship Id="rId14" Type="http://schemas.openxmlformats.org/officeDocument/2006/relationships/tags" Target="../tags/tag1374.xml"/><Relationship Id="rId30" Type="http://schemas.openxmlformats.org/officeDocument/2006/relationships/tags" Target="../tags/tag1390.xml"/><Relationship Id="rId35" Type="http://schemas.openxmlformats.org/officeDocument/2006/relationships/tags" Target="../tags/tag1395.xml"/><Relationship Id="rId56" Type="http://schemas.openxmlformats.org/officeDocument/2006/relationships/tags" Target="../tags/tag1416.xml"/><Relationship Id="rId77" Type="http://schemas.openxmlformats.org/officeDocument/2006/relationships/tags" Target="../tags/tag1437.xml"/><Relationship Id="rId100" Type="http://schemas.openxmlformats.org/officeDocument/2006/relationships/tags" Target="../tags/tag1460.xml"/><Relationship Id="rId105" Type="http://schemas.openxmlformats.org/officeDocument/2006/relationships/tags" Target="../tags/tag1465.xml"/><Relationship Id="rId126" Type="http://schemas.openxmlformats.org/officeDocument/2006/relationships/chart" Target="../charts/chart28.xml"/><Relationship Id="rId8" Type="http://schemas.openxmlformats.org/officeDocument/2006/relationships/tags" Target="../tags/tag1368.xml"/><Relationship Id="rId51" Type="http://schemas.openxmlformats.org/officeDocument/2006/relationships/tags" Target="../tags/tag1411.xml"/><Relationship Id="rId72" Type="http://schemas.openxmlformats.org/officeDocument/2006/relationships/tags" Target="../tags/tag1432.xml"/><Relationship Id="rId93" Type="http://schemas.openxmlformats.org/officeDocument/2006/relationships/tags" Target="../tags/tag1453.xml"/><Relationship Id="rId98" Type="http://schemas.openxmlformats.org/officeDocument/2006/relationships/tags" Target="../tags/tag1458.xml"/><Relationship Id="rId121" Type="http://schemas.openxmlformats.org/officeDocument/2006/relationships/notesSlide" Target="../notesSlides/notesSlide12.xml"/><Relationship Id="rId3" Type="http://schemas.openxmlformats.org/officeDocument/2006/relationships/tags" Target="../tags/tag1363.xml"/><Relationship Id="rId25" Type="http://schemas.openxmlformats.org/officeDocument/2006/relationships/tags" Target="../tags/tag1385.xml"/><Relationship Id="rId46" Type="http://schemas.openxmlformats.org/officeDocument/2006/relationships/tags" Target="../tags/tag1406.xml"/><Relationship Id="rId67" Type="http://schemas.openxmlformats.org/officeDocument/2006/relationships/tags" Target="../tags/tag1427.xml"/><Relationship Id="rId116" Type="http://schemas.openxmlformats.org/officeDocument/2006/relationships/tags" Target="../tags/tag1476.xml"/><Relationship Id="rId20" Type="http://schemas.openxmlformats.org/officeDocument/2006/relationships/tags" Target="../tags/tag1380.xml"/><Relationship Id="rId41" Type="http://schemas.openxmlformats.org/officeDocument/2006/relationships/tags" Target="../tags/tag1401.xml"/><Relationship Id="rId62" Type="http://schemas.openxmlformats.org/officeDocument/2006/relationships/tags" Target="../tags/tag1422.xml"/><Relationship Id="rId83" Type="http://schemas.openxmlformats.org/officeDocument/2006/relationships/tags" Target="../tags/tag1443.xml"/><Relationship Id="rId88" Type="http://schemas.openxmlformats.org/officeDocument/2006/relationships/tags" Target="../tags/tag1448.xml"/><Relationship Id="rId111" Type="http://schemas.openxmlformats.org/officeDocument/2006/relationships/tags" Target="../tags/tag1471.xml"/><Relationship Id="rId15" Type="http://schemas.openxmlformats.org/officeDocument/2006/relationships/tags" Target="../tags/tag1375.xml"/><Relationship Id="rId36" Type="http://schemas.openxmlformats.org/officeDocument/2006/relationships/tags" Target="../tags/tag1396.xml"/><Relationship Id="rId57" Type="http://schemas.openxmlformats.org/officeDocument/2006/relationships/tags" Target="../tags/tag1417.xml"/><Relationship Id="rId106" Type="http://schemas.openxmlformats.org/officeDocument/2006/relationships/tags" Target="../tags/tag1466.xml"/><Relationship Id="rId127" Type="http://schemas.openxmlformats.org/officeDocument/2006/relationships/chart" Target="../charts/chart29.xml"/><Relationship Id="rId10" Type="http://schemas.openxmlformats.org/officeDocument/2006/relationships/tags" Target="../tags/tag1370.xml"/><Relationship Id="rId31" Type="http://schemas.openxmlformats.org/officeDocument/2006/relationships/tags" Target="../tags/tag1391.xml"/><Relationship Id="rId52" Type="http://schemas.openxmlformats.org/officeDocument/2006/relationships/tags" Target="../tags/tag1412.xml"/><Relationship Id="rId73" Type="http://schemas.openxmlformats.org/officeDocument/2006/relationships/tags" Target="../tags/tag1433.xml"/><Relationship Id="rId78" Type="http://schemas.openxmlformats.org/officeDocument/2006/relationships/tags" Target="../tags/tag1438.xml"/><Relationship Id="rId94" Type="http://schemas.openxmlformats.org/officeDocument/2006/relationships/tags" Target="../tags/tag1454.xml"/><Relationship Id="rId99" Type="http://schemas.openxmlformats.org/officeDocument/2006/relationships/tags" Target="../tags/tag1459.xml"/><Relationship Id="rId101" Type="http://schemas.openxmlformats.org/officeDocument/2006/relationships/tags" Target="../tags/tag1461.xml"/><Relationship Id="rId122" Type="http://schemas.openxmlformats.org/officeDocument/2006/relationships/oleObject" Target="../embeddings/oleObject13.bin"/><Relationship Id="rId4" Type="http://schemas.openxmlformats.org/officeDocument/2006/relationships/tags" Target="../tags/tag1364.xml"/><Relationship Id="rId9" Type="http://schemas.openxmlformats.org/officeDocument/2006/relationships/tags" Target="../tags/tag1369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596.xml"/><Relationship Id="rId21" Type="http://schemas.openxmlformats.org/officeDocument/2006/relationships/tags" Target="../tags/tag1500.xml"/><Relationship Id="rId42" Type="http://schemas.openxmlformats.org/officeDocument/2006/relationships/tags" Target="../tags/tag1521.xml"/><Relationship Id="rId63" Type="http://schemas.openxmlformats.org/officeDocument/2006/relationships/tags" Target="../tags/tag1542.xml"/><Relationship Id="rId84" Type="http://schemas.openxmlformats.org/officeDocument/2006/relationships/tags" Target="../tags/tag1563.xml"/><Relationship Id="rId16" Type="http://schemas.openxmlformats.org/officeDocument/2006/relationships/tags" Target="../tags/tag1495.xml"/><Relationship Id="rId107" Type="http://schemas.openxmlformats.org/officeDocument/2006/relationships/tags" Target="../tags/tag1586.xml"/><Relationship Id="rId11" Type="http://schemas.openxmlformats.org/officeDocument/2006/relationships/tags" Target="../tags/tag1490.xml"/><Relationship Id="rId32" Type="http://schemas.openxmlformats.org/officeDocument/2006/relationships/tags" Target="../tags/tag1511.xml"/><Relationship Id="rId37" Type="http://schemas.openxmlformats.org/officeDocument/2006/relationships/tags" Target="../tags/tag1516.xml"/><Relationship Id="rId53" Type="http://schemas.openxmlformats.org/officeDocument/2006/relationships/tags" Target="../tags/tag1532.xml"/><Relationship Id="rId58" Type="http://schemas.openxmlformats.org/officeDocument/2006/relationships/tags" Target="../tags/tag1537.xml"/><Relationship Id="rId74" Type="http://schemas.openxmlformats.org/officeDocument/2006/relationships/tags" Target="../tags/tag1553.xml"/><Relationship Id="rId79" Type="http://schemas.openxmlformats.org/officeDocument/2006/relationships/tags" Target="../tags/tag1558.xml"/><Relationship Id="rId102" Type="http://schemas.openxmlformats.org/officeDocument/2006/relationships/tags" Target="../tags/tag1581.xml"/><Relationship Id="rId123" Type="http://schemas.openxmlformats.org/officeDocument/2006/relationships/tags" Target="../tags/tag1602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1484.xml"/><Relationship Id="rId90" Type="http://schemas.openxmlformats.org/officeDocument/2006/relationships/tags" Target="../tags/tag1569.xml"/><Relationship Id="rId95" Type="http://schemas.openxmlformats.org/officeDocument/2006/relationships/tags" Target="../tags/tag1574.xml"/><Relationship Id="rId22" Type="http://schemas.openxmlformats.org/officeDocument/2006/relationships/tags" Target="../tags/tag1501.xml"/><Relationship Id="rId27" Type="http://schemas.openxmlformats.org/officeDocument/2006/relationships/tags" Target="../tags/tag1506.xml"/><Relationship Id="rId43" Type="http://schemas.openxmlformats.org/officeDocument/2006/relationships/tags" Target="../tags/tag1522.xml"/><Relationship Id="rId48" Type="http://schemas.openxmlformats.org/officeDocument/2006/relationships/tags" Target="../tags/tag1527.xml"/><Relationship Id="rId64" Type="http://schemas.openxmlformats.org/officeDocument/2006/relationships/tags" Target="../tags/tag1543.xml"/><Relationship Id="rId69" Type="http://schemas.openxmlformats.org/officeDocument/2006/relationships/tags" Target="../tags/tag1548.xml"/><Relationship Id="rId113" Type="http://schemas.openxmlformats.org/officeDocument/2006/relationships/tags" Target="../tags/tag1592.xml"/><Relationship Id="rId118" Type="http://schemas.openxmlformats.org/officeDocument/2006/relationships/tags" Target="../tags/tag1597.xml"/><Relationship Id="rId134" Type="http://schemas.openxmlformats.org/officeDocument/2006/relationships/chart" Target="../charts/chart32.xml"/><Relationship Id="rId80" Type="http://schemas.openxmlformats.org/officeDocument/2006/relationships/tags" Target="../tags/tag1559.xml"/><Relationship Id="rId85" Type="http://schemas.openxmlformats.org/officeDocument/2006/relationships/tags" Target="../tags/tag1564.xml"/><Relationship Id="rId12" Type="http://schemas.openxmlformats.org/officeDocument/2006/relationships/tags" Target="../tags/tag1491.xml"/><Relationship Id="rId17" Type="http://schemas.openxmlformats.org/officeDocument/2006/relationships/tags" Target="../tags/tag1496.xml"/><Relationship Id="rId33" Type="http://schemas.openxmlformats.org/officeDocument/2006/relationships/tags" Target="../tags/tag1512.xml"/><Relationship Id="rId38" Type="http://schemas.openxmlformats.org/officeDocument/2006/relationships/tags" Target="../tags/tag1517.xml"/><Relationship Id="rId59" Type="http://schemas.openxmlformats.org/officeDocument/2006/relationships/tags" Target="../tags/tag1538.xml"/><Relationship Id="rId103" Type="http://schemas.openxmlformats.org/officeDocument/2006/relationships/tags" Target="../tags/tag1582.xml"/><Relationship Id="rId108" Type="http://schemas.openxmlformats.org/officeDocument/2006/relationships/tags" Target="../tags/tag1587.xml"/><Relationship Id="rId124" Type="http://schemas.openxmlformats.org/officeDocument/2006/relationships/tags" Target="../tags/tag1603.xml"/><Relationship Id="rId129" Type="http://schemas.openxmlformats.org/officeDocument/2006/relationships/notesSlide" Target="../notesSlides/notesSlide13.xml"/><Relationship Id="rId54" Type="http://schemas.openxmlformats.org/officeDocument/2006/relationships/tags" Target="../tags/tag1533.xml"/><Relationship Id="rId70" Type="http://schemas.openxmlformats.org/officeDocument/2006/relationships/tags" Target="../tags/tag1549.xml"/><Relationship Id="rId75" Type="http://schemas.openxmlformats.org/officeDocument/2006/relationships/tags" Target="../tags/tag1554.xml"/><Relationship Id="rId91" Type="http://schemas.openxmlformats.org/officeDocument/2006/relationships/tags" Target="../tags/tag1570.xml"/><Relationship Id="rId96" Type="http://schemas.openxmlformats.org/officeDocument/2006/relationships/tags" Target="../tags/tag1575.xml"/><Relationship Id="rId1" Type="http://schemas.openxmlformats.org/officeDocument/2006/relationships/tags" Target="../tags/tag1480.xml"/><Relationship Id="rId6" Type="http://schemas.openxmlformats.org/officeDocument/2006/relationships/tags" Target="../tags/tag1485.xml"/><Relationship Id="rId23" Type="http://schemas.openxmlformats.org/officeDocument/2006/relationships/tags" Target="../tags/tag1502.xml"/><Relationship Id="rId28" Type="http://schemas.openxmlformats.org/officeDocument/2006/relationships/tags" Target="../tags/tag1507.xml"/><Relationship Id="rId49" Type="http://schemas.openxmlformats.org/officeDocument/2006/relationships/tags" Target="../tags/tag1528.xml"/><Relationship Id="rId114" Type="http://schemas.openxmlformats.org/officeDocument/2006/relationships/tags" Target="../tags/tag1593.xml"/><Relationship Id="rId119" Type="http://schemas.openxmlformats.org/officeDocument/2006/relationships/tags" Target="../tags/tag1598.xml"/><Relationship Id="rId44" Type="http://schemas.openxmlformats.org/officeDocument/2006/relationships/tags" Target="../tags/tag1523.xml"/><Relationship Id="rId60" Type="http://schemas.openxmlformats.org/officeDocument/2006/relationships/tags" Target="../tags/tag1539.xml"/><Relationship Id="rId65" Type="http://schemas.openxmlformats.org/officeDocument/2006/relationships/tags" Target="../tags/tag1544.xml"/><Relationship Id="rId81" Type="http://schemas.openxmlformats.org/officeDocument/2006/relationships/tags" Target="../tags/tag1560.xml"/><Relationship Id="rId86" Type="http://schemas.openxmlformats.org/officeDocument/2006/relationships/tags" Target="../tags/tag1565.xml"/><Relationship Id="rId130" Type="http://schemas.openxmlformats.org/officeDocument/2006/relationships/oleObject" Target="../embeddings/oleObject14.bin"/><Relationship Id="rId135" Type="http://schemas.openxmlformats.org/officeDocument/2006/relationships/chart" Target="../charts/chart33.xml"/><Relationship Id="rId13" Type="http://schemas.openxmlformats.org/officeDocument/2006/relationships/tags" Target="../tags/tag1492.xml"/><Relationship Id="rId18" Type="http://schemas.openxmlformats.org/officeDocument/2006/relationships/tags" Target="../tags/tag1497.xml"/><Relationship Id="rId39" Type="http://schemas.openxmlformats.org/officeDocument/2006/relationships/tags" Target="../tags/tag1518.xml"/><Relationship Id="rId109" Type="http://schemas.openxmlformats.org/officeDocument/2006/relationships/tags" Target="../tags/tag1588.xml"/><Relationship Id="rId34" Type="http://schemas.openxmlformats.org/officeDocument/2006/relationships/tags" Target="../tags/tag1513.xml"/><Relationship Id="rId50" Type="http://schemas.openxmlformats.org/officeDocument/2006/relationships/tags" Target="../tags/tag1529.xml"/><Relationship Id="rId55" Type="http://schemas.openxmlformats.org/officeDocument/2006/relationships/tags" Target="../tags/tag1534.xml"/><Relationship Id="rId76" Type="http://schemas.openxmlformats.org/officeDocument/2006/relationships/tags" Target="../tags/tag1555.xml"/><Relationship Id="rId97" Type="http://schemas.openxmlformats.org/officeDocument/2006/relationships/tags" Target="../tags/tag1576.xml"/><Relationship Id="rId104" Type="http://schemas.openxmlformats.org/officeDocument/2006/relationships/tags" Target="../tags/tag1583.xml"/><Relationship Id="rId120" Type="http://schemas.openxmlformats.org/officeDocument/2006/relationships/tags" Target="../tags/tag1599.xml"/><Relationship Id="rId125" Type="http://schemas.openxmlformats.org/officeDocument/2006/relationships/tags" Target="../tags/tag1604.xml"/><Relationship Id="rId7" Type="http://schemas.openxmlformats.org/officeDocument/2006/relationships/tags" Target="../tags/tag1486.xml"/><Relationship Id="rId71" Type="http://schemas.openxmlformats.org/officeDocument/2006/relationships/tags" Target="../tags/tag1550.xml"/><Relationship Id="rId92" Type="http://schemas.openxmlformats.org/officeDocument/2006/relationships/tags" Target="../tags/tag1571.xml"/><Relationship Id="rId2" Type="http://schemas.openxmlformats.org/officeDocument/2006/relationships/tags" Target="../tags/tag1481.xml"/><Relationship Id="rId29" Type="http://schemas.openxmlformats.org/officeDocument/2006/relationships/tags" Target="../tags/tag1508.xml"/><Relationship Id="rId24" Type="http://schemas.openxmlformats.org/officeDocument/2006/relationships/tags" Target="../tags/tag1503.xml"/><Relationship Id="rId40" Type="http://schemas.openxmlformats.org/officeDocument/2006/relationships/tags" Target="../tags/tag1519.xml"/><Relationship Id="rId45" Type="http://schemas.openxmlformats.org/officeDocument/2006/relationships/tags" Target="../tags/tag1524.xml"/><Relationship Id="rId66" Type="http://schemas.openxmlformats.org/officeDocument/2006/relationships/tags" Target="../tags/tag1545.xml"/><Relationship Id="rId87" Type="http://schemas.openxmlformats.org/officeDocument/2006/relationships/tags" Target="../tags/tag1566.xml"/><Relationship Id="rId110" Type="http://schemas.openxmlformats.org/officeDocument/2006/relationships/tags" Target="../tags/tag1589.xml"/><Relationship Id="rId115" Type="http://schemas.openxmlformats.org/officeDocument/2006/relationships/tags" Target="../tags/tag1594.xml"/><Relationship Id="rId131" Type="http://schemas.openxmlformats.org/officeDocument/2006/relationships/image" Target="../media/image3.emf"/><Relationship Id="rId61" Type="http://schemas.openxmlformats.org/officeDocument/2006/relationships/tags" Target="../tags/tag1540.xml"/><Relationship Id="rId82" Type="http://schemas.openxmlformats.org/officeDocument/2006/relationships/tags" Target="../tags/tag1561.xml"/><Relationship Id="rId19" Type="http://schemas.openxmlformats.org/officeDocument/2006/relationships/tags" Target="../tags/tag1498.xml"/><Relationship Id="rId14" Type="http://schemas.openxmlformats.org/officeDocument/2006/relationships/tags" Target="../tags/tag1493.xml"/><Relationship Id="rId30" Type="http://schemas.openxmlformats.org/officeDocument/2006/relationships/tags" Target="../tags/tag1509.xml"/><Relationship Id="rId35" Type="http://schemas.openxmlformats.org/officeDocument/2006/relationships/tags" Target="../tags/tag1514.xml"/><Relationship Id="rId56" Type="http://schemas.openxmlformats.org/officeDocument/2006/relationships/tags" Target="../tags/tag1535.xml"/><Relationship Id="rId77" Type="http://schemas.openxmlformats.org/officeDocument/2006/relationships/tags" Target="../tags/tag1556.xml"/><Relationship Id="rId100" Type="http://schemas.openxmlformats.org/officeDocument/2006/relationships/tags" Target="../tags/tag1579.xml"/><Relationship Id="rId105" Type="http://schemas.openxmlformats.org/officeDocument/2006/relationships/tags" Target="../tags/tag1584.xml"/><Relationship Id="rId126" Type="http://schemas.openxmlformats.org/officeDocument/2006/relationships/tags" Target="../tags/tag1605.xml"/><Relationship Id="rId8" Type="http://schemas.openxmlformats.org/officeDocument/2006/relationships/tags" Target="../tags/tag1487.xml"/><Relationship Id="rId51" Type="http://schemas.openxmlformats.org/officeDocument/2006/relationships/tags" Target="../tags/tag1530.xml"/><Relationship Id="rId72" Type="http://schemas.openxmlformats.org/officeDocument/2006/relationships/tags" Target="../tags/tag1551.xml"/><Relationship Id="rId93" Type="http://schemas.openxmlformats.org/officeDocument/2006/relationships/tags" Target="../tags/tag1572.xml"/><Relationship Id="rId98" Type="http://schemas.openxmlformats.org/officeDocument/2006/relationships/tags" Target="../tags/tag1577.xml"/><Relationship Id="rId121" Type="http://schemas.openxmlformats.org/officeDocument/2006/relationships/tags" Target="../tags/tag1600.xml"/><Relationship Id="rId3" Type="http://schemas.openxmlformats.org/officeDocument/2006/relationships/tags" Target="../tags/tag1482.xml"/><Relationship Id="rId25" Type="http://schemas.openxmlformats.org/officeDocument/2006/relationships/tags" Target="../tags/tag1504.xml"/><Relationship Id="rId46" Type="http://schemas.openxmlformats.org/officeDocument/2006/relationships/tags" Target="../tags/tag1525.xml"/><Relationship Id="rId67" Type="http://schemas.openxmlformats.org/officeDocument/2006/relationships/tags" Target="../tags/tag1546.xml"/><Relationship Id="rId116" Type="http://schemas.openxmlformats.org/officeDocument/2006/relationships/tags" Target="../tags/tag1595.xml"/><Relationship Id="rId20" Type="http://schemas.openxmlformats.org/officeDocument/2006/relationships/tags" Target="../tags/tag1499.xml"/><Relationship Id="rId41" Type="http://schemas.openxmlformats.org/officeDocument/2006/relationships/tags" Target="../tags/tag1520.xml"/><Relationship Id="rId62" Type="http://schemas.openxmlformats.org/officeDocument/2006/relationships/tags" Target="../tags/tag1541.xml"/><Relationship Id="rId83" Type="http://schemas.openxmlformats.org/officeDocument/2006/relationships/tags" Target="../tags/tag1562.xml"/><Relationship Id="rId88" Type="http://schemas.openxmlformats.org/officeDocument/2006/relationships/tags" Target="../tags/tag1567.xml"/><Relationship Id="rId111" Type="http://schemas.openxmlformats.org/officeDocument/2006/relationships/tags" Target="../tags/tag1590.xml"/><Relationship Id="rId132" Type="http://schemas.openxmlformats.org/officeDocument/2006/relationships/chart" Target="../charts/chart30.xml"/><Relationship Id="rId15" Type="http://schemas.openxmlformats.org/officeDocument/2006/relationships/tags" Target="../tags/tag1494.xml"/><Relationship Id="rId36" Type="http://schemas.openxmlformats.org/officeDocument/2006/relationships/tags" Target="../tags/tag1515.xml"/><Relationship Id="rId57" Type="http://schemas.openxmlformats.org/officeDocument/2006/relationships/tags" Target="../tags/tag1536.xml"/><Relationship Id="rId106" Type="http://schemas.openxmlformats.org/officeDocument/2006/relationships/tags" Target="../tags/tag1585.xml"/><Relationship Id="rId127" Type="http://schemas.openxmlformats.org/officeDocument/2006/relationships/tags" Target="../tags/tag1606.xml"/><Relationship Id="rId10" Type="http://schemas.openxmlformats.org/officeDocument/2006/relationships/tags" Target="../tags/tag1489.xml"/><Relationship Id="rId31" Type="http://schemas.openxmlformats.org/officeDocument/2006/relationships/tags" Target="../tags/tag1510.xml"/><Relationship Id="rId52" Type="http://schemas.openxmlformats.org/officeDocument/2006/relationships/tags" Target="../tags/tag1531.xml"/><Relationship Id="rId73" Type="http://schemas.openxmlformats.org/officeDocument/2006/relationships/tags" Target="../tags/tag1552.xml"/><Relationship Id="rId78" Type="http://schemas.openxmlformats.org/officeDocument/2006/relationships/tags" Target="../tags/tag1557.xml"/><Relationship Id="rId94" Type="http://schemas.openxmlformats.org/officeDocument/2006/relationships/tags" Target="../tags/tag1573.xml"/><Relationship Id="rId99" Type="http://schemas.openxmlformats.org/officeDocument/2006/relationships/tags" Target="../tags/tag1578.xml"/><Relationship Id="rId101" Type="http://schemas.openxmlformats.org/officeDocument/2006/relationships/tags" Target="../tags/tag1580.xml"/><Relationship Id="rId122" Type="http://schemas.openxmlformats.org/officeDocument/2006/relationships/tags" Target="../tags/tag1601.xml"/><Relationship Id="rId4" Type="http://schemas.openxmlformats.org/officeDocument/2006/relationships/tags" Target="../tags/tag1483.xml"/><Relationship Id="rId9" Type="http://schemas.openxmlformats.org/officeDocument/2006/relationships/tags" Target="../tags/tag1488.xml"/><Relationship Id="rId26" Type="http://schemas.openxmlformats.org/officeDocument/2006/relationships/tags" Target="../tags/tag1505.xml"/><Relationship Id="rId47" Type="http://schemas.openxmlformats.org/officeDocument/2006/relationships/tags" Target="../tags/tag1526.xml"/><Relationship Id="rId68" Type="http://schemas.openxmlformats.org/officeDocument/2006/relationships/tags" Target="../tags/tag1547.xml"/><Relationship Id="rId89" Type="http://schemas.openxmlformats.org/officeDocument/2006/relationships/tags" Target="../tags/tag1568.xml"/><Relationship Id="rId112" Type="http://schemas.openxmlformats.org/officeDocument/2006/relationships/tags" Target="../tags/tag1591.xml"/><Relationship Id="rId133" Type="http://schemas.openxmlformats.org/officeDocument/2006/relationships/chart" Target="../charts/chart31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1632.xml"/><Relationship Id="rId117" Type="http://schemas.openxmlformats.org/officeDocument/2006/relationships/tags" Target="../tags/tag1723.xml"/><Relationship Id="rId21" Type="http://schemas.openxmlformats.org/officeDocument/2006/relationships/tags" Target="../tags/tag1627.xml"/><Relationship Id="rId42" Type="http://schemas.openxmlformats.org/officeDocument/2006/relationships/tags" Target="../tags/tag1648.xml"/><Relationship Id="rId47" Type="http://schemas.openxmlformats.org/officeDocument/2006/relationships/tags" Target="../tags/tag1653.xml"/><Relationship Id="rId63" Type="http://schemas.openxmlformats.org/officeDocument/2006/relationships/tags" Target="../tags/tag1669.xml"/><Relationship Id="rId68" Type="http://schemas.openxmlformats.org/officeDocument/2006/relationships/tags" Target="../tags/tag1674.xml"/><Relationship Id="rId84" Type="http://schemas.openxmlformats.org/officeDocument/2006/relationships/tags" Target="../tags/tag1690.xml"/><Relationship Id="rId89" Type="http://schemas.openxmlformats.org/officeDocument/2006/relationships/tags" Target="../tags/tag1695.xml"/><Relationship Id="rId112" Type="http://schemas.openxmlformats.org/officeDocument/2006/relationships/tags" Target="../tags/tag1718.xml"/><Relationship Id="rId16" Type="http://schemas.openxmlformats.org/officeDocument/2006/relationships/tags" Target="../tags/tag1622.xml"/><Relationship Id="rId107" Type="http://schemas.openxmlformats.org/officeDocument/2006/relationships/tags" Target="../tags/tag1713.xml"/><Relationship Id="rId11" Type="http://schemas.openxmlformats.org/officeDocument/2006/relationships/tags" Target="../tags/tag1617.xml"/><Relationship Id="rId32" Type="http://schemas.openxmlformats.org/officeDocument/2006/relationships/tags" Target="../tags/tag1638.xml"/><Relationship Id="rId37" Type="http://schemas.openxmlformats.org/officeDocument/2006/relationships/tags" Target="../tags/tag1643.xml"/><Relationship Id="rId53" Type="http://schemas.openxmlformats.org/officeDocument/2006/relationships/tags" Target="../tags/tag1659.xml"/><Relationship Id="rId58" Type="http://schemas.openxmlformats.org/officeDocument/2006/relationships/tags" Target="../tags/tag1664.xml"/><Relationship Id="rId74" Type="http://schemas.openxmlformats.org/officeDocument/2006/relationships/tags" Target="../tags/tag1680.xml"/><Relationship Id="rId79" Type="http://schemas.openxmlformats.org/officeDocument/2006/relationships/tags" Target="../tags/tag1685.xml"/><Relationship Id="rId102" Type="http://schemas.openxmlformats.org/officeDocument/2006/relationships/tags" Target="../tags/tag1708.xml"/><Relationship Id="rId123" Type="http://schemas.openxmlformats.org/officeDocument/2006/relationships/oleObject" Target="../embeddings/oleObject15.bin"/><Relationship Id="rId128" Type="http://schemas.openxmlformats.org/officeDocument/2006/relationships/chart" Target="../charts/chart37.xml"/><Relationship Id="rId5" Type="http://schemas.openxmlformats.org/officeDocument/2006/relationships/tags" Target="../tags/tag1611.xml"/><Relationship Id="rId90" Type="http://schemas.openxmlformats.org/officeDocument/2006/relationships/tags" Target="../tags/tag1696.xml"/><Relationship Id="rId95" Type="http://schemas.openxmlformats.org/officeDocument/2006/relationships/tags" Target="../tags/tag1701.xml"/><Relationship Id="rId22" Type="http://schemas.openxmlformats.org/officeDocument/2006/relationships/tags" Target="../tags/tag1628.xml"/><Relationship Id="rId27" Type="http://schemas.openxmlformats.org/officeDocument/2006/relationships/tags" Target="../tags/tag1633.xml"/><Relationship Id="rId43" Type="http://schemas.openxmlformats.org/officeDocument/2006/relationships/tags" Target="../tags/tag1649.xml"/><Relationship Id="rId48" Type="http://schemas.openxmlformats.org/officeDocument/2006/relationships/tags" Target="../tags/tag1654.xml"/><Relationship Id="rId64" Type="http://schemas.openxmlformats.org/officeDocument/2006/relationships/tags" Target="../tags/tag1670.xml"/><Relationship Id="rId69" Type="http://schemas.openxmlformats.org/officeDocument/2006/relationships/tags" Target="../tags/tag1675.xml"/><Relationship Id="rId113" Type="http://schemas.openxmlformats.org/officeDocument/2006/relationships/tags" Target="../tags/tag1719.xml"/><Relationship Id="rId118" Type="http://schemas.openxmlformats.org/officeDocument/2006/relationships/tags" Target="../tags/tag1724.xml"/><Relationship Id="rId80" Type="http://schemas.openxmlformats.org/officeDocument/2006/relationships/tags" Target="../tags/tag1686.xml"/><Relationship Id="rId85" Type="http://schemas.openxmlformats.org/officeDocument/2006/relationships/tags" Target="../tags/tag1691.xml"/><Relationship Id="rId12" Type="http://schemas.openxmlformats.org/officeDocument/2006/relationships/tags" Target="../tags/tag1618.xml"/><Relationship Id="rId17" Type="http://schemas.openxmlformats.org/officeDocument/2006/relationships/tags" Target="../tags/tag1623.xml"/><Relationship Id="rId33" Type="http://schemas.openxmlformats.org/officeDocument/2006/relationships/tags" Target="../tags/tag1639.xml"/><Relationship Id="rId38" Type="http://schemas.openxmlformats.org/officeDocument/2006/relationships/tags" Target="../tags/tag1644.xml"/><Relationship Id="rId59" Type="http://schemas.openxmlformats.org/officeDocument/2006/relationships/tags" Target="../tags/tag1665.xml"/><Relationship Id="rId103" Type="http://schemas.openxmlformats.org/officeDocument/2006/relationships/tags" Target="../tags/tag1709.xml"/><Relationship Id="rId108" Type="http://schemas.openxmlformats.org/officeDocument/2006/relationships/tags" Target="../tags/tag1714.xml"/><Relationship Id="rId124" Type="http://schemas.openxmlformats.org/officeDocument/2006/relationships/image" Target="../media/image7.emf"/><Relationship Id="rId54" Type="http://schemas.openxmlformats.org/officeDocument/2006/relationships/tags" Target="../tags/tag1660.xml"/><Relationship Id="rId70" Type="http://schemas.openxmlformats.org/officeDocument/2006/relationships/tags" Target="../tags/tag1676.xml"/><Relationship Id="rId75" Type="http://schemas.openxmlformats.org/officeDocument/2006/relationships/tags" Target="../tags/tag1681.xml"/><Relationship Id="rId91" Type="http://schemas.openxmlformats.org/officeDocument/2006/relationships/tags" Target="../tags/tag1697.xml"/><Relationship Id="rId96" Type="http://schemas.openxmlformats.org/officeDocument/2006/relationships/tags" Target="../tags/tag1702.xml"/><Relationship Id="rId1" Type="http://schemas.openxmlformats.org/officeDocument/2006/relationships/tags" Target="../tags/tag1607.xml"/><Relationship Id="rId6" Type="http://schemas.openxmlformats.org/officeDocument/2006/relationships/tags" Target="../tags/tag1612.xml"/><Relationship Id="rId23" Type="http://schemas.openxmlformats.org/officeDocument/2006/relationships/tags" Target="../tags/tag1629.xml"/><Relationship Id="rId28" Type="http://schemas.openxmlformats.org/officeDocument/2006/relationships/tags" Target="../tags/tag1634.xml"/><Relationship Id="rId49" Type="http://schemas.openxmlformats.org/officeDocument/2006/relationships/tags" Target="../tags/tag1655.xml"/><Relationship Id="rId114" Type="http://schemas.openxmlformats.org/officeDocument/2006/relationships/tags" Target="../tags/tag1720.xml"/><Relationship Id="rId119" Type="http://schemas.openxmlformats.org/officeDocument/2006/relationships/tags" Target="../tags/tag1725.xml"/><Relationship Id="rId44" Type="http://schemas.openxmlformats.org/officeDocument/2006/relationships/tags" Target="../tags/tag1650.xml"/><Relationship Id="rId60" Type="http://schemas.openxmlformats.org/officeDocument/2006/relationships/tags" Target="../tags/tag1666.xml"/><Relationship Id="rId65" Type="http://schemas.openxmlformats.org/officeDocument/2006/relationships/tags" Target="../tags/tag1671.xml"/><Relationship Id="rId81" Type="http://schemas.openxmlformats.org/officeDocument/2006/relationships/tags" Target="../tags/tag1687.xml"/><Relationship Id="rId86" Type="http://schemas.openxmlformats.org/officeDocument/2006/relationships/tags" Target="../tags/tag1692.xml"/><Relationship Id="rId13" Type="http://schemas.openxmlformats.org/officeDocument/2006/relationships/tags" Target="../tags/tag1619.xml"/><Relationship Id="rId18" Type="http://schemas.openxmlformats.org/officeDocument/2006/relationships/tags" Target="../tags/tag1624.xml"/><Relationship Id="rId39" Type="http://schemas.openxmlformats.org/officeDocument/2006/relationships/tags" Target="../tags/tag1645.xml"/><Relationship Id="rId109" Type="http://schemas.openxmlformats.org/officeDocument/2006/relationships/tags" Target="../tags/tag1715.xml"/><Relationship Id="rId34" Type="http://schemas.openxmlformats.org/officeDocument/2006/relationships/tags" Target="../tags/tag1640.xml"/><Relationship Id="rId50" Type="http://schemas.openxmlformats.org/officeDocument/2006/relationships/tags" Target="../tags/tag1656.xml"/><Relationship Id="rId55" Type="http://schemas.openxmlformats.org/officeDocument/2006/relationships/tags" Target="../tags/tag1661.xml"/><Relationship Id="rId76" Type="http://schemas.openxmlformats.org/officeDocument/2006/relationships/tags" Target="../tags/tag1682.xml"/><Relationship Id="rId97" Type="http://schemas.openxmlformats.org/officeDocument/2006/relationships/tags" Target="../tags/tag1703.xml"/><Relationship Id="rId104" Type="http://schemas.openxmlformats.org/officeDocument/2006/relationships/tags" Target="../tags/tag1710.xml"/><Relationship Id="rId120" Type="http://schemas.openxmlformats.org/officeDocument/2006/relationships/tags" Target="../tags/tag1726.xml"/><Relationship Id="rId125" Type="http://schemas.openxmlformats.org/officeDocument/2006/relationships/chart" Target="../charts/chart34.xml"/><Relationship Id="rId7" Type="http://schemas.openxmlformats.org/officeDocument/2006/relationships/tags" Target="../tags/tag1613.xml"/><Relationship Id="rId71" Type="http://schemas.openxmlformats.org/officeDocument/2006/relationships/tags" Target="../tags/tag1677.xml"/><Relationship Id="rId92" Type="http://schemas.openxmlformats.org/officeDocument/2006/relationships/tags" Target="../tags/tag1698.xml"/><Relationship Id="rId2" Type="http://schemas.openxmlformats.org/officeDocument/2006/relationships/tags" Target="../tags/tag1608.xml"/><Relationship Id="rId29" Type="http://schemas.openxmlformats.org/officeDocument/2006/relationships/tags" Target="../tags/tag1635.xml"/><Relationship Id="rId24" Type="http://schemas.openxmlformats.org/officeDocument/2006/relationships/tags" Target="../tags/tag1630.xml"/><Relationship Id="rId40" Type="http://schemas.openxmlformats.org/officeDocument/2006/relationships/tags" Target="../tags/tag1646.xml"/><Relationship Id="rId45" Type="http://schemas.openxmlformats.org/officeDocument/2006/relationships/tags" Target="../tags/tag1651.xml"/><Relationship Id="rId66" Type="http://schemas.openxmlformats.org/officeDocument/2006/relationships/tags" Target="../tags/tag1672.xml"/><Relationship Id="rId87" Type="http://schemas.openxmlformats.org/officeDocument/2006/relationships/tags" Target="../tags/tag1693.xml"/><Relationship Id="rId110" Type="http://schemas.openxmlformats.org/officeDocument/2006/relationships/tags" Target="../tags/tag1716.xml"/><Relationship Id="rId115" Type="http://schemas.openxmlformats.org/officeDocument/2006/relationships/tags" Target="../tags/tag1721.xml"/><Relationship Id="rId61" Type="http://schemas.openxmlformats.org/officeDocument/2006/relationships/tags" Target="../tags/tag1667.xml"/><Relationship Id="rId82" Type="http://schemas.openxmlformats.org/officeDocument/2006/relationships/tags" Target="../tags/tag1688.xml"/><Relationship Id="rId19" Type="http://schemas.openxmlformats.org/officeDocument/2006/relationships/tags" Target="../tags/tag1625.xml"/><Relationship Id="rId14" Type="http://schemas.openxmlformats.org/officeDocument/2006/relationships/tags" Target="../tags/tag1620.xml"/><Relationship Id="rId30" Type="http://schemas.openxmlformats.org/officeDocument/2006/relationships/tags" Target="../tags/tag1636.xml"/><Relationship Id="rId35" Type="http://schemas.openxmlformats.org/officeDocument/2006/relationships/tags" Target="../tags/tag1641.xml"/><Relationship Id="rId56" Type="http://schemas.openxmlformats.org/officeDocument/2006/relationships/tags" Target="../tags/tag1662.xml"/><Relationship Id="rId77" Type="http://schemas.openxmlformats.org/officeDocument/2006/relationships/tags" Target="../tags/tag1683.xml"/><Relationship Id="rId100" Type="http://schemas.openxmlformats.org/officeDocument/2006/relationships/tags" Target="../tags/tag1706.xml"/><Relationship Id="rId105" Type="http://schemas.openxmlformats.org/officeDocument/2006/relationships/tags" Target="../tags/tag1711.xml"/><Relationship Id="rId126" Type="http://schemas.openxmlformats.org/officeDocument/2006/relationships/chart" Target="../charts/chart35.xml"/><Relationship Id="rId8" Type="http://schemas.openxmlformats.org/officeDocument/2006/relationships/tags" Target="../tags/tag1614.xml"/><Relationship Id="rId51" Type="http://schemas.openxmlformats.org/officeDocument/2006/relationships/tags" Target="../tags/tag1657.xml"/><Relationship Id="rId72" Type="http://schemas.openxmlformats.org/officeDocument/2006/relationships/tags" Target="../tags/tag1678.xml"/><Relationship Id="rId93" Type="http://schemas.openxmlformats.org/officeDocument/2006/relationships/tags" Target="../tags/tag1699.xml"/><Relationship Id="rId98" Type="http://schemas.openxmlformats.org/officeDocument/2006/relationships/tags" Target="../tags/tag1704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1609.xml"/><Relationship Id="rId25" Type="http://schemas.openxmlformats.org/officeDocument/2006/relationships/tags" Target="../tags/tag1631.xml"/><Relationship Id="rId46" Type="http://schemas.openxmlformats.org/officeDocument/2006/relationships/tags" Target="../tags/tag1652.xml"/><Relationship Id="rId67" Type="http://schemas.openxmlformats.org/officeDocument/2006/relationships/tags" Target="../tags/tag1673.xml"/><Relationship Id="rId116" Type="http://schemas.openxmlformats.org/officeDocument/2006/relationships/tags" Target="../tags/tag1722.xml"/><Relationship Id="rId20" Type="http://schemas.openxmlformats.org/officeDocument/2006/relationships/tags" Target="../tags/tag1626.xml"/><Relationship Id="rId41" Type="http://schemas.openxmlformats.org/officeDocument/2006/relationships/tags" Target="../tags/tag1647.xml"/><Relationship Id="rId62" Type="http://schemas.openxmlformats.org/officeDocument/2006/relationships/tags" Target="../tags/tag1668.xml"/><Relationship Id="rId83" Type="http://schemas.openxmlformats.org/officeDocument/2006/relationships/tags" Target="../tags/tag1689.xml"/><Relationship Id="rId88" Type="http://schemas.openxmlformats.org/officeDocument/2006/relationships/tags" Target="../tags/tag1694.xml"/><Relationship Id="rId111" Type="http://schemas.openxmlformats.org/officeDocument/2006/relationships/tags" Target="../tags/tag1717.xml"/><Relationship Id="rId15" Type="http://schemas.openxmlformats.org/officeDocument/2006/relationships/tags" Target="../tags/tag1621.xml"/><Relationship Id="rId36" Type="http://schemas.openxmlformats.org/officeDocument/2006/relationships/tags" Target="../tags/tag1642.xml"/><Relationship Id="rId57" Type="http://schemas.openxmlformats.org/officeDocument/2006/relationships/tags" Target="../tags/tag1663.xml"/><Relationship Id="rId106" Type="http://schemas.openxmlformats.org/officeDocument/2006/relationships/tags" Target="../tags/tag1712.xml"/><Relationship Id="rId127" Type="http://schemas.openxmlformats.org/officeDocument/2006/relationships/chart" Target="../charts/chart36.xml"/><Relationship Id="rId10" Type="http://schemas.openxmlformats.org/officeDocument/2006/relationships/tags" Target="../tags/tag1616.xml"/><Relationship Id="rId31" Type="http://schemas.openxmlformats.org/officeDocument/2006/relationships/tags" Target="../tags/tag1637.xml"/><Relationship Id="rId52" Type="http://schemas.openxmlformats.org/officeDocument/2006/relationships/tags" Target="../tags/tag1658.xml"/><Relationship Id="rId73" Type="http://schemas.openxmlformats.org/officeDocument/2006/relationships/tags" Target="../tags/tag1679.xml"/><Relationship Id="rId78" Type="http://schemas.openxmlformats.org/officeDocument/2006/relationships/tags" Target="../tags/tag1684.xml"/><Relationship Id="rId94" Type="http://schemas.openxmlformats.org/officeDocument/2006/relationships/tags" Target="../tags/tag1700.xml"/><Relationship Id="rId99" Type="http://schemas.openxmlformats.org/officeDocument/2006/relationships/tags" Target="../tags/tag1705.xml"/><Relationship Id="rId101" Type="http://schemas.openxmlformats.org/officeDocument/2006/relationships/tags" Target="../tags/tag1707.xml"/><Relationship Id="rId122" Type="http://schemas.openxmlformats.org/officeDocument/2006/relationships/notesSlide" Target="../notesSlides/notesSlide14.xml"/><Relationship Id="rId4" Type="http://schemas.openxmlformats.org/officeDocument/2006/relationships/tags" Target="../tags/tag1610.xml"/><Relationship Id="rId9" Type="http://schemas.openxmlformats.org/officeDocument/2006/relationships/tags" Target="../tags/tag1615.xml"/></Relationships>
</file>

<file path=ppt/slides/_rels/slide15.xml.rels><?xml version="1.0" encoding="UTF-8" standalone="yes"?>
<Relationships xmlns="http://schemas.openxmlformats.org/package/2006/relationships"><Relationship Id="rId117" Type="http://schemas.openxmlformats.org/officeDocument/2006/relationships/tags" Target="../tags/tag1843.xml"/><Relationship Id="rId21" Type="http://schemas.openxmlformats.org/officeDocument/2006/relationships/tags" Target="../tags/tag1747.xml"/><Relationship Id="rId42" Type="http://schemas.openxmlformats.org/officeDocument/2006/relationships/tags" Target="../tags/tag1768.xml"/><Relationship Id="rId63" Type="http://schemas.openxmlformats.org/officeDocument/2006/relationships/tags" Target="../tags/tag1789.xml"/><Relationship Id="rId84" Type="http://schemas.openxmlformats.org/officeDocument/2006/relationships/tags" Target="../tags/tag1810.xml"/><Relationship Id="rId138" Type="http://schemas.openxmlformats.org/officeDocument/2006/relationships/tags" Target="../tags/tag1864.xml"/><Relationship Id="rId107" Type="http://schemas.openxmlformats.org/officeDocument/2006/relationships/tags" Target="../tags/tag1833.xml"/><Relationship Id="rId11" Type="http://schemas.openxmlformats.org/officeDocument/2006/relationships/tags" Target="../tags/tag1737.xml"/><Relationship Id="rId32" Type="http://schemas.openxmlformats.org/officeDocument/2006/relationships/tags" Target="../tags/tag1758.xml"/><Relationship Id="rId53" Type="http://schemas.openxmlformats.org/officeDocument/2006/relationships/tags" Target="../tags/tag1779.xml"/><Relationship Id="rId74" Type="http://schemas.openxmlformats.org/officeDocument/2006/relationships/tags" Target="../tags/tag1800.xml"/><Relationship Id="rId128" Type="http://schemas.openxmlformats.org/officeDocument/2006/relationships/tags" Target="../tags/tag1854.xml"/><Relationship Id="rId5" Type="http://schemas.openxmlformats.org/officeDocument/2006/relationships/tags" Target="../tags/tag1731.xml"/><Relationship Id="rId90" Type="http://schemas.openxmlformats.org/officeDocument/2006/relationships/tags" Target="../tags/tag1816.xml"/><Relationship Id="rId95" Type="http://schemas.openxmlformats.org/officeDocument/2006/relationships/tags" Target="../tags/tag1821.xml"/><Relationship Id="rId22" Type="http://schemas.openxmlformats.org/officeDocument/2006/relationships/tags" Target="../tags/tag1748.xml"/><Relationship Id="rId27" Type="http://schemas.openxmlformats.org/officeDocument/2006/relationships/tags" Target="../tags/tag1753.xml"/><Relationship Id="rId43" Type="http://schemas.openxmlformats.org/officeDocument/2006/relationships/tags" Target="../tags/tag1769.xml"/><Relationship Id="rId48" Type="http://schemas.openxmlformats.org/officeDocument/2006/relationships/tags" Target="../tags/tag1774.xml"/><Relationship Id="rId64" Type="http://schemas.openxmlformats.org/officeDocument/2006/relationships/tags" Target="../tags/tag1790.xml"/><Relationship Id="rId69" Type="http://schemas.openxmlformats.org/officeDocument/2006/relationships/tags" Target="../tags/tag1795.xml"/><Relationship Id="rId113" Type="http://schemas.openxmlformats.org/officeDocument/2006/relationships/tags" Target="../tags/tag1839.xml"/><Relationship Id="rId118" Type="http://schemas.openxmlformats.org/officeDocument/2006/relationships/tags" Target="../tags/tag1844.xml"/><Relationship Id="rId134" Type="http://schemas.openxmlformats.org/officeDocument/2006/relationships/tags" Target="../tags/tag1860.xml"/><Relationship Id="rId139" Type="http://schemas.openxmlformats.org/officeDocument/2006/relationships/tags" Target="../tags/tag1865.xml"/><Relationship Id="rId80" Type="http://schemas.openxmlformats.org/officeDocument/2006/relationships/tags" Target="../tags/tag1806.xml"/><Relationship Id="rId85" Type="http://schemas.openxmlformats.org/officeDocument/2006/relationships/tags" Target="../tags/tag1811.xml"/><Relationship Id="rId12" Type="http://schemas.openxmlformats.org/officeDocument/2006/relationships/tags" Target="../tags/tag1738.xml"/><Relationship Id="rId17" Type="http://schemas.openxmlformats.org/officeDocument/2006/relationships/tags" Target="../tags/tag1743.xml"/><Relationship Id="rId33" Type="http://schemas.openxmlformats.org/officeDocument/2006/relationships/tags" Target="../tags/tag1759.xml"/><Relationship Id="rId38" Type="http://schemas.openxmlformats.org/officeDocument/2006/relationships/tags" Target="../tags/tag1764.xml"/><Relationship Id="rId59" Type="http://schemas.openxmlformats.org/officeDocument/2006/relationships/tags" Target="../tags/tag1785.xml"/><Relationship Id="rId103" Type="http://schemas.openxmlformats.org/officeDocument/2006/relationships/tags" Target="../tags/tag1829.xml"/><Relationship Id="rId108" Type="http://schemas.openxmlformats.org/officeDocument/2006/relationships/tags" Target="../tags/tag1834.xml"/><Relationship Id="rId124" Type="http://schemas.openxmlformats.org/officeDocument/2006/relationships/tags" Target="../tags/tag1850.xml"/><Relationship Id="rId129" Type="http://schemas.openxmlformats.org/officeDocument/2006/relationships/tags" Target="../tags/tag1855.xml"/><Relationship Id="rId54" Type="http://schemas.openxmlformats.org/officeDocument/2006/relationships/tags" Target="../tags/tag1780.xml"/><Relationship Id="rId70" Type="http://schemas.openxmlformats.org/officeDocument/2006/relationships/tags" Target="../tags/tag1796.xml"/><Relationship Id="rId75" Type="http://schemas.openxmlformats.org/officeDocument/2006/relationships/tags" Target="../tags/tag1801.xml"/><Relationship Id="rId91" Type="http://schemas.openxmlformats.org/officeDocument/2006/relationships/tags" Target="../tags/tag1817.xml"/><Relationship Id="rId96" Type="http://schemas.openxmlformats.org/officeDocument/2006/relationships/tags" Target="../tags/tag1822.xml"/><Relationship Id="rId140" Type="http://schemas.openxmlformats.org/officeDocument/2006/relationships/tags" Target="../tags/tag1866.xml"/><Relationship Id="rId145" Type="http://schemas.openxmlformats.org/officeDocument/2006/relationships/chart" Target="../charts/chart38.xml"/><Relationship Id="rId1" Type="http://schemas.openxmlformats.org/officeDocument/2006/relationships/tags" Target="../tags/tag1727.xml"/><Relationship Id="rId6" Type="http://schemas.openxmlformats.org/officeDocument/2006/relationships/tags" Target="../tags/tag1732.xml"/><Relationship Id="rId23" Type="http://schemas.openxmlformats.org/officeDocument/2006/relationships/tags" Target="../tags/tag1749.xml"/><Relationship Id="rId28" Type="http://schemas.openxmlformats.org/officeDocument/2006/relationships/tags" Target="../tags/tag1754.xml"/><Relationship Id="rId49" Type="http://schemas.openxmlformats.org/officeDocument/2006/relationships/tags" Target="../tags/tag1775.xml"/><Relationship Id="rId114" Type="http://schemas.openxmlformats.org/officeDocument/2006/relationships/tags" Target="../tags/tag1840.xml"/><Relationship Id="rId119" Type="http://schemas.openxmlformats.org/officeDocument/2006/relationships/tags" Target="../tags/tag1845.xml"/><Relationship Id="rId44" Type="http://schemas.openxmlformats.org/officeDocument/2006/relationships/tags" Target="../tags/tag1770.xml"/><Relationship Id="rId60" Type="http://schemas.openxmlformats.org/officeDocument/2006/relationships/tags" Target="../tags/tag1786.xml"/><Relationship Id="rId65" Type="http://schemas.openxmlformats.org/officeDocument/2006/relationships/tags" Target="../tags/tag1791.xml"/><Relationship Id="rId81" Type="http://schemas.openxmlformats.org/officeDocument/2006/relationships/tags" Target="../tags/tag1807.xml"/><Relationship Id="rId86" Type="http://schemas.openxmlformats.org/officeDocument/2006/relationships/tags" Target="../tags/tag1812.xml"/><Relationship Id="rId130" Type="http://schemas.openxmlformats.org/officeDocument/2006/relationships/tags" Target="../tags/tag1856.xml"/><Relationship Id="rId135" Type="http://schemas.openxmlformats.org/officeDocument/2006/relationships/tags" Target="../tags/tag1861.xml"/><Relationship Id="rId13" Type="http://schemas.openxmlformats.org/officeDocument/2006/relationships/tags" Target="../tags/tag1739.xml"/><Relationship Id="rId18" Type="http://schemas.openxmlformats.org/officeDocument/2006/relationships/tags" Target="../tags/tag1744.xml"/><Relationship Id="rId39" Type="http://schemas.openxmlformats.org/officeDocument/2006/relationships/tags" Target="../tags/tag1765.xml"/><Relationship Id="rId109" Type="http://schemas.openxmlformats.org/officeDocument/2006/relationships/tags" Target="../tags/tag1835.xml"/><Relationship Id="rId34" Type="http://schemas.openxmlformats.org/officeDocument/2006/relationships/tags" Target="../tags/tag1760.xml"/><Relationship Id="rId50" Type="http://schemas.openxmlformats.org/officeDocument/2006/relationships/tags" Target="../tags/tag1776.xml"/><Relationship Id="rId55" Type="http://schemas.openxmlformats.org/officeDocument/2006/relationships/tags" Target="../tags/tag1781.xml"/><Relationship Id="rId76" Type="http://schemas.openxmlformats.org/officeDocument/2006/relationships/tags" Target="../tags/tag1802.xml"/><Relationship Id="rId97" Type="http://schemas.openxmlformats.org/officeDocument/2006/relationships/tags" Target="../tags/tag1823.xml"/><Relationship Id="rId104" Type="http://schemas.openxmlformats.org/officeDocument/2006/relationships/tags" Target="../tags/tag1830.xml"/><Relationship Id="rId120" Type="http://schemas.openxmlformats.org/officeDocument/2006/relationships/tags" Target="../tags/tag1846.xml"/><Relationship Id="rId125" Type="http://schemas.openxmlformats.org/officeDocument/2006/relationships/tags" Target="../tags/tag1851.xml"/><Relationship Id="rId141" Type="http://schemas.openxmlformats.org/officeDocument/2006/relationships/slideLayout" Target="../slideLayouts/slideLayout2.xml"/><Relationship Id="rId146" Type="http://schemas.openxmlformats.org/officeDocument/2006/relationships/chart" Target="../charts/chart39.xml"/><Relationship Id="rId7" Type="http://schemas.openxmlformats.org/officeDocument/2006/relationships/tags" Target="../tags/tag1733.xml"/><Relationship Id="rId71" Type="http://schemas.openxmlformats.org/officeDocument/2006/relationships/tags" Target="../tags/tag1797.xml"/><Relationship Id="rId92" Type="http://schemas.openxmlformats.org/officeDocument/2006/relationships/tags" Target="../tags/tag1818.xml"/><Relationship Id="rId2" Type="http://schemas.openxmlformats.org/officeDocument/2006/relationships/tags" Target="../tags/tag1728.xml"/><Relationship Id="rId29" Type="http://schemas.openxmlformats.org/officeDocument/2006/relationships/tags" Target="../tags/tag1755.xml"/><Relationship Id="rId24" Type="http://schemas.openxmlformats.org/officeDocument/2006/relationships/tags" Target="../tags/tag1750.xml"/><Relationship Id="rId40" Type="http://schemas.openxmlformats.org/officeDocument/2006/relationships/tags" Target="../tags/tag1766.xml"/><Relationship Id="rId45" Type="http://schemas.openxmlformats.org/officeDocument/2006/relationships/tags" Target="../tags/tag1771.xml"/><Relationship Id="rId66" Type="http://schemas.openxmlformats.org/officeDocument/2006/relationships/tags" Target="../tags/tag1792.xml"/><Relationship Id="rId87" Type="http://schemas.openxmlformats.org/officeDocument/2006/relationships/tags" Target="../tags/tag1813.xml"/><Relationship Id="rId110" Type="http://schemas.openxmlformats.org/officeDocument/2006/relationships/tags" Target="../tags/tag1836.xml"/><Relationship Id="rId115" Type="http://schemas.openxmlformats.org/officeDocument/2006/relationships/tags" Target="../tags/tag1841.xml"/><Relationship Id="rId131" Type="http://schemas.openxmlformats.org/officeDocument/2006/relationships/tags" Target="../tags/tag1857.xml"/><Relationship Id="rId136" Type="http://schemas.openxmlformats.org/officeDocument/2006/relationships/tags" Target="../tags/tag1862.xml"/><Relationship Id="rId61" Type="http://schemas.openxmlformats.org/officeDocument/2006/relationships/tags" Target="../tags/tag1787.xml"/><Relationship Id="rId82" Type="http://schemas.openxmlformats.org/officeDocument/2006/relationships/tags" Target="../tags/tag1808.xml"/><Relationship Id="rId19" Type="http://schemas.openxmlformats.org/officeDocument/2006/relationships/tags" Target="../tags/tag1745.xml"/><Relationship Id="rId14" Type="http://schemas.openxmlformats.org/officeDocument/2006/relationships/tags" Target="../tags/tag1740.xml"/><Relationship Id="rId30" Type="http://schemas.openxmlformats.org/officeDocument/2006/relationships/tags" Target="../tags/tag1756.xml"/><Relationship Id="rId35" Type="http://schemas.openxmlformats.org/officeDocument/2006/relationships/tags" Target="../tags/tag1761.xml"/><Relationship Id="rId56" Type="http://schemas.openxmlformats.org/officeDocument/2006/relationships/tags" Target="../tags/tag1782.xml"/><Relationship Id="rId77" Type="http://schemas.openxmlformats.org/officeDocument/2006/relationships/tags" Target="../tags/tag1803.xml"/><Relationship Id="rId100" Type="http://schemas.openxmlformats.org/officeDocument/2006/relationships/tags" Target="../tags/tag1826.xml"/><Relationship Id="rId105" Type="http://schemas.openxmlformats.org/officeDocument/2006/relationships/tags" Target="../tags/tag1831.xml"/><Relationship Id="rId126" Type="http://schemas.openxmlformats.org/officeDocument/2006/relationships/tags" Target="../tags/tag1852.xml"/><Relationship Id="rId147" Type="http://schemas.openxmlformats.org/officeDocument/2006/relationships/chart" Target="../charts/chart40.xml"/><Relationship Id="rId8" Type="http://schemas.openxmlformats.org/officeDocument/2006/relationships/tags" Target="../tags/tag1734.xml"/><Relationship Id="rId51" Type="http://schemas.openxmlformats.org/officeDocument/2006/relationships/tags" Target="../tags/tag1777.xml"/><Relationship Id="rId72" Type="http://schemas.openxmlformats.org/officeDocument/2006/relationships/tags" Target="../tags/tag1798.xml"/><Relationship Id="rId93" Type="http://schemas.openxmlformats.org/officeDocument/2006/relationships/tags" Target="../tags/tag1819.xml"/><Relationship Id="rId98" Type="http://schemas.openxmlformats.org/officeDocument/2006/relationships/tags" Target="../tags/tag1824.xml"/><Relationship Id="rId121" Type="http://schemas.openxmlformats.org/officeDocument/2006/relationships/tags" Target="../tags/tag1847.xml"/><Relationship Id="rId142" Type="http://schemas.openxmlformats.org/officeDocument/2006/relationships/notesSlide" Target="../notesSlides/notesSlide15.xml"/><Relationship Id="rId3" Type="http://schemas.openxmlformats.org/officeDocument/2006/relationships/tags" Target="../tags/tag1729.xml"/><Relationship Id="rId25" Type="http://schemas.openxmlformats.org/officeDocument/2006/relationships/tags" Target="../tags/tag1751.xml"/><Relationship Id="rId46" Type="http://schemas.openxmlformats.org/officeDocument/2006/relationships/tags" Target="../tags/tag1772.xml"/><Relationship Id="rId67" Type="http://schemas.openxmlformats.org/officeDocument/2006/relationships/tags" Target="../tags/tag1793.xml"/><Relationship Id="rId116" Type="http://schemas.openxmlformats.org/officeDocument/2006/relationships/tags" Target="../tags/tag1842.xml"/><Relationship Id="rId137" Type="http://schemas.openxmlformats.org/officeDocument/2006/relationships/tags" Target="../tags/tag1863.xml"/><Relationship Id="rId20" Type="http://schemas.openxmlformats.org/officeDocument/2006/relationships/tags" Target="../tags/tag1746.xml"/><Relationship Id="rId41" Type="http://schemas.openxmlformats.org/officeDocument/2006/relationships/tags" Target="../tags/tag1767.xml"/><Relationship Id="rId62" Type="http://schemas.openxmlformats.org/officeDocument/2006/relationships/tags" Target="../tags/tag1788.xml"/><Relationship Id="rId83" Type="http://schemas.openxmlformats.org/officeDocument/2006/relationships/tags" Target="../tags/tag1809.xml"/><Relationship Id="rId88" Type="http://schemas.openxmlformats.org/officeDocument/2006/relationships/tags" Target="../tags/tag1814.xml"/><Relationship Id="rId111" Type="http://schemas.openxmlformats.org/officeDocument/2006/relationships/tags" Target="../tags/tag1837.xml"/><Relationship Id="rId132" Type="http://schemas.openxmlformats.org/officeDocument/2006/relationships/tags" Target="../tags/tag1858.xml"/><Relationship Id="rId15" Type="http://schemas.openxmlformats.org/officeDocument/2006/relationships/tags" Target="../tags/tag1741.xml"/><Relationship Id="rId36" Type="http://schemas.openxmlformats.org/officeDocument/2006/relationships/tags" Target="../tags/tag1762.xml"/><Relationship Id="rId57" Type="http://schemas.openxmlformats.org/officeDocument/2006/relationships/tags" Target="../tags/tag1783.xml"/><Relationship Id="rId106" Type="http://schemas.openxmlformats.org/officeDocument/2006/relationships/tags" Target="../tags/tag1832.xml"/><Relationship Id="rId127" Type="http://schemas.openxmlformats.org/officeDocument/2006/relationships/tags" Target="../tags/tag1853.xml"/><Relationship Id="rId10" Type="http://schemas.openxmlformats.org/officeDocument/2006/relationships/tags" Target="../tags/tag1736.xml"/><Relationship Id="rId31" Type="http://schemas.openxmlformats.org/officeDocument/2006/relationships/tags" Target="../tags/tag1757.xml"/><Relationship Id="rId52" Type="http://schemas.openxmlformats.org/officeDocument/2006/relationships/tags" Target="../tags/tag1778.xml"/><Relationship Id="rId73" Type="http://schemas.openxmlformats.org/officeDocument/2006/relationships/tags" Target="../tags/tag1799.xml"/><Relationship Id="rId78" Type="http://schemas.openxmlformats.org/officeDocument/2006/relationships/tags" Target="../tags/tag1804.xml"/><Relationship Id="rId94" Type="http://schemas.openxmlformats.org/officeDocument/2006/relationships/tags" Target="../tags/tag1820.xml"/><Relationship Id="rId99" Type="http://schemas.openxmlformats.org/officeDocument/2006/relationships/tags" Target="../tags/tag1825.xml"/><Relationship Id="rId101" Type="http://schemas.openxmlformats.org/officeDocument/2006/relationships/tags" Target="../tags/tag1827.xml"/><Relationship Id="rId122" Type="http://schemas.openxmlformats.org/officeDocument/2006/relationships/tags" Target="../tags/tag1848.xml"/><Relationship Id="rId143" Type="http://schemas.openxmlformats.org/officeDocument/2006/relationships/oleObject" Target="../embeddings/oleObject16.bin"/><Relationship Id="rId148" Type="http://schemas.openxmlformats.org/officeDocument/2006/relationships/chart" Target="../charts/chart41.xml"/><Relationship Id="rId4" Type="http://schemas.openxmlformats.org/officeDocument/2006/relationships/tags" Target="../tags/tag1730.xml"/><Relationship Id="rId9" Type="http://schemas.openxmlformats.org/officeDocument/2006/relationships/tags" Target="../tags/tag1735.xml"/><Relationship Id="rId26" Type="http://schemas.openxmlformats.org/officeDocument/2006/relationships/tags" Target="../tags/tag1752.xml"/><Relationship Id="rId47" Type="http://schemas.openxmlformats.org/officeDocument/2006/relationships/tags" Target="../tags/tag1773.xml"/><Relationship Id="rId68" Type="http://schemas.openxmlformats.org/officeDocument/2006/relationships/tags" Target="../tags/tag1794.xml"/><Relationship Id="rId89" Type="http://schemas.openxmlformats.org/officeDocument/2006/relationships/tags" Target="../tags/tag1815.xml"/><Relationship Id="rId112" Type="http://schemas.openxmlformats.org/officeDocument/2006/relationships/tags" Target="../tags/tag1838.xml"/><Relationship Id="rId133" Type="http://schemas.openxmlformats.org/officeDocument/2006/relationships/tags" Target="../tags/tag1859.xml"/><Relationship Id="rId16" Type="http://schemas.openxmlformats.org/officeDocument/2006/relationships/tags" Target="../tags/tag1742.xml"/><Relationship Id="rId37" Type="http://schemas.openxmlformats.org/officeDocument/2006/relationships/tags" Target="../tags/tag1763.xml"/><Relationship Id="rId58" Type="http://schemas.openxmlformats.org/officeDocument/2006/relationships/tags" Target="../tags/tag1784.xml"/><Relationship Id="rId79" Type="http://schemas.openxmlformats.org/officeDocument/2006/relationships/tags" Target="../tags/tag1805.xml"/><Relationship Id="rId102" Type="http://schemas.openxmlformats.org/officeDocument/2006/relationships/tags" Target="../tags/tag1828.xml"/><Relationship Id="rId123" Type="http://schemas.openxmlformats.org/officeDocument/2006/relationships/tags" Target="../tags/tag1849.xml"/><Relationship Id="rId144" Type="http://schemas.openxmlformats.org/officeDocument/2006/relationships/image" Target="../media/image8.emf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tags" Target="../tags/tag1983.xml"/><Relationship Id="rId21" Type="http://schemas.openxmlformats.org/officeDocument/2006/relationships/tags" Target="../tags/tag1887.xml"/><Relationship Id="rId42" Type="http://schemas.openxmlformats.org/officeDocument/2006/relationships/tags" Target="../tags/tag1908.xml"/><Relationship Id="rId63" Type="http://schemas.openxmlformats.org/officeDocument/2006/relationships/tags" Target="../tags/tag1929.xml"/><Relationship Id="rId84" Type="http://schemas.openxmlformats.org/officeDocument/2006/relationships/tags" Target="../tags/tag1950.xml"/><Relationship Id="rId138" Type="http://schemas.openxmlformats.org/officeDocument/2006/relationships/tags" Target="../tags/tag2004.xml"/><Relationship Id="rId107" Type="http://schemas.openxmlformats.org/officeDocument/2006/relationships/tags" Target="../tags/tag1973.xml"/><Relationship Id="rId11" Type="http://schemas.openxmlformats.org/officeDocument/2006/relationships/tags" Target="../tags/tag1877.xml"/><Relationship Id="rId32" Type="http://schemas.openxmlformats.org/officeDocument/2006/relationships/tags" Target="../tags/tag1898.xml"/><Relationship Id="rId53" Type="http://schemas.openxmlformats.org/officeDocument/2006/relationships/tags" Target="../tags/tag1919.xml"/><Relationship Id="rId74" Type="http://schemas.openxmlformats.org/officeDocument/2006/relationships/tags" Target="../tags/tag1940.xml"/><Relationship Id="rId128" Type="http://schemas.openxmlformats.org/officeDocument/2006/relationships/tags" Target="../tags/tag1994.xml"/><Relationship Id="rId149" Type="http://schemas.openxmlformats.org/officeDocument/2006/relationships/chart" Target="../charts/chart44.xml"/><Relationship Id="rId5" Type="http://schemas.openxmlformats.org/officeDocument/2006/relationships/tags" Target="../tags/tag1871.xml"/><Relationship Id="rId95" Type="http://schemas.openxmlformats.org/officeDocument/2006/relationships/tags" Target="../tags/tag1961.xml"/><Relationship Id="rId22" Type="http://schemas.openxmlformats.org/officeDocument/2006/relationships/tags" Target="../tags/tag1888.xml"/><Relationship Id="rId27" Type="http://schemas.openxmlformats.org/officeDocument/2006/relationships/tags" Target="../tags/tag1893.xml"/><Relationship Id="rId43" Type="http://schemas.openxmlformats.org/officeDocument/2006/relationships/tags" Target="../tags/tag1909.xml"/><Relationship Id="rId48" Type="http://schemas.openxmlformats.org/officeDocument/2006/relationships/tags" Target="../tags/tag1914.xml"/><Relationship Id="rId64" Type="http://schemas.openxmlformats.org/officeDocument/2006/relationships/tags" Target="../tags/tag1930.xml"/><Relationship Id="rId69" Type="http://schemas.openxmlformats.org/officeDocument/2006/relationships/tags" Target="../tags/tag1935.xml"/><Relationship Id="rId113" Type="http://schemas.openxmlformats.org/officeDocument/2006/relationships/tags" Target="../tags/tag1979.xml"/><Relationship Id="rId118" Type="http://schemas.openxmlformats.org/officeDocument/2006/relationships/tags" Target="../tags/tag1984.xml"/><Relationship Id="rId134" Type="http://schemas.openxmlformats.org/officeDocument/2006/relationships/tags" Target="../tags/tag2000.xml"/><Relationship Id="rId139" Type="http://schemas.openxmlformats.org/officeDocument/2006/relationships/tags" Target="../tags/tag2005.xml"/><Relationship Id="rId80" Type="http://schemas.openxmlformats.org/officeDocument/2006/relationships/tags" Target="../tags/tag1946.xml"/><Relationship Id="rId85" Type="http://schemas.openxmlformats.org/officeDocument/2006/relationships/tags" Target="../tags/tag1951.xml"/><Relationship Id="rId150" Type="http://schemas.openxmlformats.org/officeDocument/2006/relationships/chart" Target="../charts/chart45.xml"/><Relationship Id="rId12" Type="http://schemas.openxmlformats.org/officeDocument/2006/relationships/tags" Target="../tags/tag1878.xml"/><Relationship Id="rId17" Type="http://schemas.openxmlformats.org/officeDocument/2006/relationships/tags" Target="../tags/tag1883.xml"/><Relationship Id="rId33" Type="http://schemas.openxmlformats.org/officeDocument/2006/relationships/tags" Target="../tags/tag1899.xml"/><Relationship Id="rId38" Type="http://schemas.openxmlformats.org/officeDocument/2006/relationships/tags" Target="../tags/tag1904.xml"/><Relationship Id="rId59" Type="http://schemas.openxmlformats.org/officeDocument/2006/relationships/tags" Target="../tags/tag1925.xml"/><Relationship Id="rId103" Type="http://schemas.openxmlformats.org/officeDocument/2006/relationships/tags" Target="../tags/tag1969.xml"/><Relationship Id="rId108" Type="http://schemas.openxmlformats.org/officeDocument/2006/relationships/tags" Target="../tags/tag1974.xml"/><Relationship Id="rId124" Type="http://schemas.openxmlformats.org/officeDocument/2006/relationships/tags" Target="../tags/tag1990.xml"/><Relationship Id="rId129" Type="http://schemas.openxmlformats.org/officeDocument/2006/relationships/tags" Target="../tags/tag1995.xml"/><Relationship Id="rId54" Type="http://schemas.openxmlformats.org/officeDocument/2006/relationships/tags" Target="../tags/tag1920.xml"/><Relationship Id="rId70" Type="http://schemas.openxmlformats.org/officeDocument/2006/relationships/tags" Target="../tags/tag1936.xml"/><Relationship Id="rId75" Type="http://schemas.openxmlformats.org/officeDocument/2006/relationships/tags" Target="../tags/tag1941.xml"/><Relationship Id="rId91" Type="http://schemas.openxmlformats.org/officeDocument/2006/relationships/tags" Target="../tags/tag1957.xml"/><Relationship Id="rId96" Type="http://schemas.openxmlformats.org/officeDocument/2006/relationships/tags" Target="../tags/tag1962.xml"/><Relationship Id="rId140" Type="http://schemas.openxmlformats.org/officeDocument/2006/relationships/tags" Target="../tags/tag2006.xml"/><Relationship Id="rId145" Type="http://schemas.openxmlformats.org/officeDocument/2006/relationships/oleObject" Target="../embeddings/oleObject17.bin"/><Relationship Id="rId1" Type="http://schemas.openxmlformats.org/officeDocument/2006/relationships/tags" Target="../tags/tag1867.xml"/><Relationship Id="rId6" Type="http://schemas.openxmlformats.org/officeDocument/2006/relationships/tags" Target="../tags/tag1872.xml"/><Relationship Id="rId23" Type="http://schemas.openxmlformats.org/officeDocument/2006/relationships/tags" Target="../tags/tag1889.xml"/><Relationship Id="rId28" Type="http://schemas.openxmlformats.org/officeDocument/2006/relationships/tags" Target="../tags/tag1894.xml"/><Relationship Id="rId49" Type="http://schemas.openxmlformats.org/officeDocument/2006/relationships/tags" Target="../tags/tag1915.xml"/><Relationship Id="rId114" Type="http://schemas.openxmlformats.org/officeDocument/2006/relationships/tags" Target="../tags/tag1980.xml"/><Relationship Id="rId119" Type="http://schemas.openxmlformats.org/officeDocument/2006/relationships/tags" Target="../tags/tag1985.xml"/><Relationship Id="rId44" Type="http://schemas.openxmlformats.org/officeDocument/2006/relationships/tags" Target="../tags/tag1910.xml"/><Relationship Id="rId60" Type="http://schemas.openxmlformats.org/officeDocument/2006/relationships/tags" Target="../tags/tag1926.xml"/><Relationship Id="rId65" Type="http://schemas.openxmlformats.org/officeDocument/2006/relationships/tags" Target="../tags/tag1931.xml"/><Relationship Id="rId81" Type="http://schemas.openxmlformats.org/officeDocument/2006/relationships/tags" Target="../tags/tag1947.xml"/><Relationship Id="rId86" Type="http://schemas.openxmlformats.org/officeDocument/2006/relationships/tags" Target="../tags/tag1952.xml"/><Relationship Id="rId130" Type="http://schemas.openxmlformats.org/officeDocument/2006/relationships/tags" Target="../tags/tag1996.xml"/><Relationship Id="rId135" Type="http://schemas.openxmlformats.org/officeDocument/2006/relationships/tags" Target="../tags/tag2001.xml"/><Relationship Id="rId13" Type="http://schemas.openxmlformats.org/officeDocument/2006/relationships/tags" Target="../tags/tag1879.xml"/><Relationship Id="rId18" Type="http://schemas.openxmlformats.org/officeDocument/2006/relationships/tags" Target="../tags/tag1884.xml"/><Relationship Id="rId39" Type="http://schemas.openxmlformats.org/officeDocument/2006/relationships/tags" Target="../tags/tag1905.xml"/><Relationship Id="rId109" Type="http://schemas.openxmlformats.org/officeDocument/2006/relationships/tags" Target="../tags/tag1975.xml"/><Relationship Id="rId34" Type="http://schemas.openxmlformats.org/officeDocument/2006/relationships/tags" Target="../tags/tag1900.xml"/><Relationship Id="rId50" Type="http://schemas.openxmlformats.org/officeDocument/2006/relationships/tags" Target="../tags/tag1916.xml"/><Relationship Id="rId55" Type="http://schemas.openxmlformats.org/officeDocument/2006/relationships/tags" Target="../tags/tag1921.xml"/><Relationship Id="rId76" Type="http://schemas.openxmlformats.org/officeDocument/2006/relationships/tags" Target="../tags/tag1942.xml"/><Relationship Id="rId97" Type="http://schemas.openxmlformats.org/officeDocument/2006/relationships/tags" Target="../tags/tag1963.xml"/><Relationship Id="rId104" Type="http://schemas.openxmlformats.org/officeDocument/2006/relationships/tags" Target="../tags/tag1970.xml"/><Relationship Id="rId120" Type="http://schemas.openxmlformats.org/officeDocument/2006/relationships/tags" Target="../tags/tag1986.xml"/><Relationship Id="rId125" Type="http://schemas.openxmlformats.org/officeDocument/2006/relationships/tags" Target="../tags/tag1991.xml"/><Relationship Id="rId141" Type="http://schemas.openxmlformats.org/officeDocument/2006/relationships/tags" Target="../tags/tag2007.xml"/><Relationship Id="rId146" Type="http://schemas.openxmlformats.org/officeDocument/2006/relationships/image" Target="../media/image8.emf"/><Relationship Id="rId7" Type="http://schemas.openxmlformats.org/officeDocument/2006/relationships/tags" Target="../tags/tag1873.xml"/><Relationship Id="rId71" Type="http://schemas.openxmlformats.org/officeDocument/2006/relationships/tags" Target="../tags/tag1937.xml"/><Relationship Id="rId92" Type="http://schemas.openxmlformats.org/officeDocument/2006/relationships/tags" Target="../tags/tag1958.xml"/><Relationship Id="rId2" Type="http://schemas.openxmlformats.org/officeDocument/2006/relationships/tags" Target="../tags/tag1868.xml"/><Relationship Id="rId29" Type="http://schemas.openxmlformats.org/officeDocument/2006/relationships/tags" Target="../tags/tag1895.xml"/><Relationship Id="rId24" Type="http://schemas.openxmlformats.org/officeDocument/2006/relationships/tags" Target="../tags/tag1890.xml"/><Relationship Id="rId40" Type="http://schemas.openxmlformats.org/officeDocument/2006/relationships/tags" Target="../tags/tag1906.xml"/><Relationship Id="rId45" Type="http://schemas.openxmlformats.org/officeDocument/2006/relationships/tags" Target="../tags/tag1911.xml"/><Relationship Id="rId66" Type="http://schemas.openxmlformats.org/officeDocument/2006/relationships/tags" Target="../tags/tag1932.xml"/><Relationship Id="rId87" Type="http://schemas.openxmlformats.org/officeDocument/2006/relationships/tags" Target="../tags/tag1953.xml"/><Relationship Id="rId110" Type="http://schemas.openxmlformats.org/officeDocument/2006/relationships/tags" Target="../tags/tag1976.xml"/><Relationship Id="rId115" Type="http://schemas.openxmlformats.org/officeDocument/2006/relationships/tags" Target="../tags/tag1981.xml"/><Relationship Id="rId131" Type="http://schemas.openxmlformats.org/officeDocument/2006/relationships/tags" Target="../tags/tag1997.xml"/><Relationship Id="rId136" Type="http://schemas.openxmlformats.org/officeDocument/2006/relationships/tags" Target="../tags/tag2002.xml"/><Relationship Id="rId61" Type="http://schemas.openxmlformats.org/officeDocument/2006/relationships/tags" Target="../tags/tag1927.xml"/><Relationship Id="rId82" Type="http://schemas.openxmlformats.org/officeDocument/2006/relationships/tags" Target="../tags/tag1948.xml"/><Relationship Id="rId19" Type="http://schemas.openxmlformats.org/officeDocument/2006/relationships/tags" Target="../tags/tag1885.xml"/><Relationship Id="rId14" Type="http://schemas.openxmlformats.org/officeDocument/2006/relationships/tags" Target="../tags/tag1880.xml"/><Relationship Id="rId30" Type="http://schemas.openxmlformats.org/officeDocument/2006/relationships/tags" Target="../tags/tag1896.xml"/><Relationship Id="rId35" Type="http://schemas.openxmlformats.org/officeDocument/2006/relationships/tags" Target="../tags/tag1901.xml"/><Relationship Id="rId56" Type="http://schemas.openxmlformats.org/officeDocument/2006/relationships/tags" Target="../tags/tag1922.xml"/><Relationship Id="rId77" Type="http://schemas.openxmlformats.org/officeDocument/2006/relationships/tags" Target="../tags/tag1943.xml"/><Relationship Id="rId100" Type="http://schemas.openxmlformats.org/officeDocument/2006/relationships/tags" Target="../tags/tag1966.xml"/><Relationship Id="rId105" Type="http://schemas.openxmlformats.org/officeDocument/2006/relationships/tags" Target="../tags/tag1971.xml"/><Relationship Id="rId126" Type="http://schemas.openxmlformats.org/officeDocument/2006/relationships/tags" Target="../tags/tag1992.xml"/><Relationship Id="rId147" Type="http://schemas.openxmlformats.org/officeDocument/2006/relationships/chart" Target="../charts/chart42.xml"/><Relationship Id="rId8" Type="http://schemas.openxmlformats.org/officeDocument/2006/relationships/tags" Target="../tags/tag1874.xml"/><Relationship Id="rId51" Type="http://schemas.openxmlformats.org/officeDocument/2006/relationships/tags" Target="../tags/tag1917.xml"/><Relationship Id="rId72" Type="http://schemas.openxmlformats.org/officeDocument/2006/relationships/tags" Target="../tags/tag1938.xml"/><Relationship Id="rId93" Type="http://schemas.openxmlformats.org/officeDocument/2006/relationships/tags" Target="../tags/tag1959.xml"/><Relationship Id="rId98" Type="http://schemas.openxmlformats.org/officeDocument/2006/relationships/tags" Target="../tags/tag1964.xml"/><Relationship Id="rId121" Type="http://schemas.openxmlformats.org/officeDocument/2006/relationships/tags" Target="../tags/tag1987.xml"/><Relationship Id="rId142" Type="http://schemas.openxmlformats.org/officeDocument/2006/relationships/tags" Target="../tags/tag2008.xml"/><Relationship Id="rId3" Type="http://schemas.openxmlformats.org/officeDocument/2006/relationships/tags" Target="../tags/tag1869.xml"/><Relationship Id="rId25" Type="http://schemas.openxmlformats.org/officeDocument/2006/relationships/tags" Target="../tags/tag1891.xml"/><Relationship Id="rId46" Type="http://schemas.openxmlformats.org/officeDocument/2006/relationships/tags" Target="../tags/tag1912.xml"/><Relationship Id="rId67" Type="http://schemas.openxmlformats.org/officeDocument/2006/relationships/tags" Target="../tags/tag1933.xml"/><Relationship Id="rId116" Type="http://schemas.openxmlformats.org/officeDocument/2006/relationships/tags" Target="../tags/tag1982.xml"/><Relationship Id="rId137" Type="http://schemas.openxmlformats.org/officeDocument/2006/relationships/tags" Target="../tags/tag2003.xml"/><Relationship Id="rId20" Type="http://schemas.openxmlformats.org/officeDocument/2006/relationships/tags" Target="../tags/tag1886.xml"/><Relationship Id="rId41" Type="http://schemas.openxmlformats.org/officeDocument/2006/relationships/tags" Target="../tags/tag1907.xml"/><Relationship Id="rId62" Type="http://schemas.openxmlformats.org/officeDocument/2006/relationships/tags" Target="../tags/tag1928.xml"/><Relationship Id="rId83" Type="http://schemas.openxmlformats.org/officeDocument/2006/relationships/tags" Target="../tags/tag1949.xml"/><Relationship Id="rId88" Type="http://schemas.openxmlformats.org/officeDocument/2006/relationships/tags" Target="../tags/tag1954.xml"/><Relationship Id="rId111" Type="http://schemas.openxmlformats.org/officeDocument/2006/relationships/tags" Target="../tags/tag1977.xml"/><Relationship Id="rId132" Type="http://schemas.openxmlformats.org/officeDocument/2006/relationships/tags" Target="../tags/tag1998.xml"/><Relationship Id="rId15" Type="http://schemas.openxmlformats.org/officeDocument/2006/relationships/tags" Target="../tags/tag1881.xml"/><Relationship Id="rId36" Type="http://schemas.openxmlformats.org/officeDocument/2006/relationships/tags" Target="../tags/tag1902.xml"/><Relationship Id="rId57" Type="http://schemas.openxmlformats.org/officeDocument/2006/relationships/tags" Target="../tags/tag1923.xml"/><Relationship Id="rId106" Type="http://schemas.openxmlformats.org/officeDocument/2006/relationships/tags" Target="../tags/tag1972.xml"/><Relationship Id="rId127" Type="http://schemas.openxmlformats.org/officeDocument/2006/relationships/tags" Target="../tags/tag1993.xml"/><Relationship Id="rId10" Type="http://schemas.openxmlformats.org/officeDocument/2006/relationships/tags" Target="../tags/tag1876.xml"/><Relationship Id="rId31" Type="http://schemas.openxmlformats.org/officeDocument/2006/relationships/tags" Target="../tags/tag1897.xml"/><Relationship Id="rId52" Type="http://schemas.openxmlformats.org/officeDocument/2006/relationships/tags" Target="../tags/tag1918.xml"/><Relationship Id="rId73" Type="http://schemas.openxmlformats.org/officeDocument/2006/relationships/tags" Target="../tags/tag1939.xml"/><Relationship Id="rId78" Type="http://schemas.openxmlformats.org/officeDocument/2006/relationships/tags" Target="../tags/tag1944.xml"/><Relationship Id="rId94" Type="http://schemas.openxmlformats.org/officeDocument/2006/relationships/tags" Target="../tags/tag1960.xml"/><Relationship Id="rId99" Type="http://schemas.openxmlformats.org/officeDocument/2006/relationships/tags" Target="../tags/tag1965.xml"/><Relationship Id="rId101" Type="http://schemas.openxmlformats.org/officeDocument/2006/relationships/tags" Target="../tags/tag1967.xml"/><Relationship Id="rId122" Type="http://schemas.openxmlformats.org/officeDocument/2006/relationships/tags" Target="../tags/tag1988.xml"/><Relationship Id="rId143" Type="http://schemas.openxmlformats.org/officeDocument/2006/relationships/slideLayout" Target="../slideLayouts/slideLayout2.xml"/><Relationship Id="rId148" Type="http://schemas.openxmlformats.org/officeDocument/2006/relationships/chart" Target="../charts/chart43.xml"/><Relationship Id="rId4" Type="http://schemas.openxmlformats.org/officeDocument/2006/relationships/tags" Target="../tags/tag1870.xml"/><Relationship Id="rId9" Type="http://schemas.openxmlformats.org/officeDocument/2006/relationships/tags" Target="../tags/tag1875.xml"/><Relationship Id="rId26" Type="http://schemas.openxmlformats.org/officeDocument/2006/relationships/tags" Target="../tags/tag1892.xml"/><Relationship Id="rId47" Type="http://schemas.openxmlformats.org/officeDocument/2006/relationships/tags" Target="../tags/tag1913.xml"/><Relationship Id="rId68" Type="http://schemas.openxmlformats.org/officeDocument/2006/relationships/tags" Target="../tags/tag1934.xml"/><Relationship Id="rId89" Type="http://schemas.openxmlformats.org/officeDocument/2006/relationships/tags" Target="../tags/tag1955.xml"/><Relationship Id="rId112" Type="http://schemas.openxmlformats.org/officeDocument/2006/relationships/tags" Target="../tags/tag1978.xml"/><Relationship Id="rId133" Type="http://schemas.openxmlformats.org/officeDocument/2006/relationships/tags" Target="../tags/tag1999.xml"/><Relationship Id="rId16" Type="http://schemas.openxmlformats.org/officeDocument/2006/relationships/tags" Target="../tags/tag1882.xml"/><Relationship Id="rId37" Type="http://schemas.openxmlformats.org/officeDocument/2006/relationships/tags" Target="../tags/tag1903.xml"/><Relationship Id="rId58" Type="http://schemas.openxmlformats.org/officeDocument/2006/relationships/tags" Target="../tags/tag1924.xml"/><Relationship Id="rId79" Type="http://schemas.openxmlformats.org/officeDocument/2006/relationships/tags" Target="../tags/tag1945.xml"/><Relationship Id="rId102" Type="http://schemas.openxmlformats.org/officeDocument/2006/relationships/tags" Target="../tags/tag1968.xml"/><Relationship Id="rId123" Type="http://schemas.openxmlformats.org/officeDocument/2006/relationships/tags" Target="../tags/tag1989.xml"/><Relationship Id="rId144" Type="http://schemas.openxmlformats.org/officeDocument/2006/relationships/notesSlide" Target="../notesSlides/notesSlide16.xml"/><Relationship Id="rId90" Type="http://schemas.openxmlformats.org/officeDocument/2006/relationships/tags" Target="../tags/tag1956.xml"/></Relationships>
</file>

<file path=ppt/slides/_rels/slide17.xml.rels><?xml version="1.0" encoding="UTF-8" standalone="yes"?>
<Relationships xmlns="http://schemas.openxmlformats.org/package/2006/relationships"><Relationship Id="rId117" Type="http://schemas.openxmlformats.org/officeDocument/2006/relationships/tags" Target="../tags/tag2125.xml"/><Relationship Id="rId21" Type="http://schemas.openxmlformats.org/officeDocument/2006/relationships/tags" Target="../tags/tag2029.xml"/><Relationship Id="rId42" Type="http://schemas.openxmlformats.org/officeDocument/2006/relationships/tags" Target="../tags/tag2050.xml"/><Relationship Id="rId63" Type="http://schemas.openxmlformats.org/officeDocument/2006/relationships/tags" Target="../tags/tag2071.xml"/><Relationship Id="rId84" Type="http://schemas.openxmlformats.org/officeDocument/2006/relationships/tags" Target="../tags/tag2092.xml"/><Relationship Id="rId16" Type="http://schemas.openxmlformats.org/officeDocument/2006/relationships/tags" Target="../tags/tag2024.xml"/><Relationship Id="rId107" Type="http://schemas.openxmlformats.org/officeDocument/2006/relationships/tags" Target="../tags/tag2115.xml"/><Relationship Id="rId11" Type="http://schemas.openxmlformats.org/officeDocument/2006/relationships/tags" Target="../tags/tag2019.xml"/><Relationship Id="rId32" Type="http://schemas.openxmlformats.org/officeDocument/2006/relationships/tags" Target="../tags/tag2040.xml"/><Relationship Id="rId37" Type="http://schemas.openxmlformats.org/officeDocument/2006/relationships/tags" Target="../tags/tag2045.xml"/><Relationship Id="rId53" Type="http://schemas.openxmlformats.org/officeDocument/2006/relationships/tags" Target="../tags/tag2061.xml"/><Relationship Id="rId58" Type="http://schemas.openxmlformats.org/officeDocument/2006/relationships/tags" Target="../tags/tag2066.xml"/><Relationship Id="rId74" Type="http://schemas.openxmlformats.org/officeDocument/2006/relationships/tags" Target="../tags/tag2082.xml"/><Relationship Id="rId79" Type="http://schemas.openxmlformats.org/officeDocument/2006/relationships/tags" Target="../tags/tag2087.xml"/><Relationship Id="rId102" Type="http://schemas.openxmlformats.org/officeDocument/2006/relationships/tags" Target="../tags/tag2110.xml"/><Relationship Id="rId123" Type="http://schemas.openxmlformats.org/officeDocument/2006/relationships/tags" Target="../tags/tag2131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2013.xml"/><Relationship Id="rId90" Type="http://schemas.openxmlformats.org/officeDocument/2006/relationships/tags" Target="../tags/tag2098.xml"/><Relationship Id="rId95" Type="http://schemas.openxmlformats.org/officeDocument/2006/relationships/tags" Target="../tags/tag2103.xml"/><Relationship Id="rId22" Type="http://schemas.openxmlformats.org/officeDocument/2006/relationships/tags" Target="../tags/tag2030.xml"/><Relationship Id="rId27" Type="http://schemas.openxmlformats.org/officeDocument/2006/relationships/tags" Target="../tags/tag2035.xml"/><Relationship Id="rId43" Type="http://schemas.openxmlformats.org/officeDocument/2006/relationships/tags" Target="../tags/tag2051.xml"/><Relationship Id="rId48" Type="http://schemas.openxmlformats.org/officeDocument/2006/relationships/tags" Target="../tags/tag2056.xml"/><Relationship Id="rId64" Type="http://schemas.openxmlformats.org/officeDocument/2006/relationships/tags" Target="../tags/tag2072.xml"/><Relationship Id="rId69" Type="http://schemas.openxmlformats.org/officeDocument/2006/relationships/tags" Target="../tags/tag2077.xml"/><Relationship Id="rId113" Type="http://schemas.openxmlformats.org/officeDocument/2006/relationships/tags" Target="../tags/tag2121.xml"/><Relationship Id="rId118" Type="http://schemas.openxmlformats.org/officeDocument/2006/relationships/tags" Target="../tags/tag2126.xml"/><Relationship Id="rId134" Type="http://schemas.openxmlformats.org/officeDocument/2006/relationships/chart" Target="../charts/chart48.xml"/><Relationship Id="rId80" Type="http://schemas.openxmlformats.org/officeDocument/2006/relationships/tags" Target="../tags/tag2088.xml"/><Relationship Id="rId85" Type="http://schemas.openxmlformats.org/officeDocument/2006/relationships/tags" Target="../tags/tag2093.xml"/><Relationship Id="rId12" Type="http://schemas.openxmlformats.org/officeDocument/2006/relationships/tags" Target="../tags/tag2020.xml"/><Relationship Id="rId17" Type="http://schemas.openxmlformats.org/officeDocument/2006/relationships/tags" Target="../tags/tag2025.xml"/><Relationship Id="rId33" Type="http://schemas.openxmlformats.org/officeDocument/2006/relationships/tags" Target="../tags/tag2041.xml"/><Relationship Id="rId38" Type="http://schemas.openxmlformats.org/officeDocument/2006/relationships/tags" Target="../tags/tag2046.xml"/><Relationship Id="rId59" Type="http://schemas.openxmlformats.org/officeDocument/2006/relationships/tags" Target="../tags/tag2067.xml"/><Relationship Id="rId103" Type="http://schemas.openxmlformats.org/officeDocument/2006/relationships/tags" Target="../tags/tag2111.xml"/><Relationship Id="rId108" Type="http://schemas.openxmlformats.org/officeDocument/2006/relationships/tags" Target="../tags/tag2116.xml"/><Relationship Id="rId124" Type="http://schemas.openxmlformats.org/officeDocument/2006/relationships/tags" Target="../tags/tag2132.xml"/><Relationship Id="rId129" Type="http://schemas.openxmlformats.org/officeDocument/2006/relationships/notesSlide" Target="../notesSlides/notesSlide17.xml"/><Relationship Id="rId54" Type="http://schemas.openxmlformats.org/officeDocument/2006/relationships/tags" Target="../tags/tag2062.xml"/><Relationship Id="rId70" Type="http://schemas.openxmlformats.org/officeDocument/2006/relationships/tags" Target="../tags/tag2078.xml"/><Relationship Id="rId75" Type="http://schemas.openxmlformats.org/officeDocument/2006/relationships/tags" Target="../tags/tag2083.xml"/><Relationship Id="rId91" Type="http://schemas.openxmlformats.org/officeDocument/2006/relationships/tags" Target="../tags/tag2099.xml"/><Relationship Id="rId96" Type="http://schemas.openxmlformats.org/officeDocument/2006/relationships/tags" Target="../tags/tag2104.xml"/><Relationship Id="rId1" Type="http://schemas.openxmlformats.org/officeDocument/2006/relationships/tags" Target="../tags/tag2009.xml"/><Relationship Id="rId6" Type="http://schemas.openxmlformats.org/officeDocument/2006/relationships/tags" Target="../tags/tag2014.xml"/><Relationship Id="rId23" Type="http://schemas.openxmlformats.org/officeDocument/2006/relationships/tags" Target="../tags/tag2031.xml"/><Relationship Id="rId28" Type="http://schemas.openxmlformats.org/officeDocument/2006/relationships/tags" Target="../tags/tag2036.xml"/><Relationship Id="rId49" Type="http://schemas.openxmlformats.org/officeDocument/2006/relationships/tags" Target="../tags/tag2057.xml"/><Relationship Id="rId114" Type="http://schemas.openxmlformats.org/officeDocument/2006/relationships/tags" Target="../tags/tag2122.xml"/><Relationship Id="rId119" Type="http://schemas.openxmlformats.org/officeDocument/2006/relationships/tags" Target="../tags/tag2127.xml"/><Relationship Id="rId44" Type="http://schemas.openxmlformats.org/officeDocument/2006/relationships/tags" Target="../tags/tag2052.xml"/><Relationship Id="rId60" Type="http://schemas.openxmlformats.org/officeDocument/2006/relationships/tags" Target="../tags/tag2068.xml"/><Relationship Id="rId65" Type="http://schemas.openxmlformats.org/officeDocument/2006/relationships/tags" Target="../tags/tag2073.xml"/><Relationship Id="rId81" Type="http://schemas.openxmlformats.org/officeDocument/2006/relationships/tags" Target="../tags/tag2089.xml"/><Relationship Id="rId86" Type="http://schemas.openxmlformats.org/officeDocument/2006/relationships/tags" Target="../tags/tag2094.xml"/><Relationship Id="rId130" Type="http://schemas.openxmlformats.org/officeDocument/2006/relationships/oleObject" Target="../embeddings/oleObject18.bin"/><Relationship Id="rId135" Type="http://schemas.openxmlformats.org/officeDocument/2006/relationships/chart" Target="../charts/chart49.xml"/><Relationship Id="rId13" Type="http://schemas.openxmlformats.org/officeDocument/2006/relationships/tags" Target="../tags/tag2021.xml"/><Relationship Id="rId18" Type="http://schemas.openxmlformats.org/officeDocument/2006/relationships/tags" Target="../tags/tag2026.xml"/><Relationship Id="rId39" Type="http://schemas.openxmlformats.org/officeDocument/2006/relationships/tags" Target="../tags/tag2047.xml"/><Relationship Id="rId109" Type="http://schemas.openxmlformats.org/officeDocument/2006/relationships/tags" Target="../tags/tag2117.xml"/><Relationship Id="rId34" Type="http://schemas.openxmlformats.org/officeDocument/2006/relationships/tags" Target="../tags/tag2042.xml"/><Relationship Id="rId50" Type="http://schemas.openxmlformats.org/officeDocument/2006/relationships/tags" Target="../tags/tag2058.xml"/><Relationship Id="rId55" Type="http://schemas.openxmlformats.org/officeDocument/2006/relationships/tags" Target="../tags/tag2063.xml"/><Relationship Id="rId76" Type="http://schemas.openxmlformats.org/officeDocument/2006/relationships/tags" Target="../tags/tag2084.xml"/><Relationship Id="rId97" Type="http://schemas.openxmlformats.org/officeDocument/2006/relationships/tags" Target="../tags/tag2105.xml"/><Relationship Id="rId104" Type="http://schemas.openxmlformats.org/officeDocument/2006/relationships/tags" Target="../tags/tag2112.xml"/><Relationship Id="rId120" Type="http://schemas.openxmlformats.org/officeDocument/2006/relationships/tags" Target="../tags/tag2128.xml"/><Relationship Id="rId125" Type="http://schemas.openxmlformats.org/officeDocument/2006/relationships/tags" Target="../tags/tag2133.xml"/><Relationship Id="rId7" Type="http://schemas.openxmlformats.org/officeDocument/2006/relationships/tags" Target="../tags/tag2015.xml"/><Relationship Id="rId71" Type="http://schemas.openxmlformats.org/officeDocument/2006/relationships/tags" Target="../tags/tag2079.xml"/><Relationship Id="rId92" Type="http://schemas.openxmlformats.org/officeDocument/2006/relationships/tags" Target="../tags/tag2100.xml"/><Relationship Id="rId2" Type="http://schemas.openxmlformats.org/officeDocument/2006/relationships/tags" Target="../tags/tag2010.xml"/><Relationship Id="rId29" Type="http://schemas.openxmlformats.org/officeDocument/2006/relationships/tags" Target="../tags/tag2037.xml"/><Relationship Id="rId24" Type="http://schemas.openxmlformats.org/officeDocument/2006/relationships/tags" Target="../tags/tag2032.xml"/><Relationship Id="rId40" Type="http://schemas.openxmlformats.org/officeDocument/2006/relationships/tags" Target="../tags/tag2048.xml"/><Relationship Id="rId45" Type="http://schemas.openxmlformats.org/officeDocument/2006/relationships/tags" Target="../tags/tag2053.xml"/><Relationship Id="rId66" Type="http://schemas.openxmlformats.org/officeDocument/2006/relationships/tags" Target="../tags/tag2074.xml"/><Relationship Id="rId87" Type="http://schemas.openxmlformats.org/officeDocument/2006/relationships/tags" Target="../tags/tag2095.xml"/><Relationship Id="rId110" Type="http://schemas.openxmlformats.org/officeDocument/2006/relationships/tags" Target="../tags/tag2118.xml"/><Relationship Id="rId115" Type="http://schemas.openxmlformats.org/officeDocument/2006/relationships/tags" Target="../tags/tag2123.xml"/><Relationship Id="rId131" Type="http://schemas.openxmlformats.org/officeDocument/2006/relationships/image" Target="../media/image3.emf"/><Relationship Id="rId61" Type="http://schemas.openxmlformats.org/officeDocument/2006/relationships/tags" Target="../tags/tag2069.xml"/><Relationship Id="rId82" Type="http://schemas.openxmlformats.org/officeDocument/2006/relationships/tags" Target="../tags/tag2090.xml"/><Relationship Id="rId19" Type="http://schemas.openxmlformats.org/officeDocument/2006/relationships/tags" Target="../tags/tag2027.xml"/><Relationship Id="rId14" Type="http://schemas.openxmlformats.org/officeDocument/2006/relationships/tags" Target="../tags/tag2022.xml"/><Relationship Id="rId30" Type="http://schemas.openxmlformats.org/officeDocument/2006/relationships/tags" Target="../tags/tag2038.xml"/><Relationship Id="rId35" Type="http://schemas.openxmlformats.org/officeDocument/2006/relationships/tags" Target="../tags/tag2043.xml"/><Relationship Id="rId56" Type="http://schemas.openxmlformats.org/officeDocument/2006/relationships/tags" Target="../tags/tag2064.xml"/><Relationship Id="rId77" Type="http://schemas.openxmlformats.org/officeDocument/2006/relationships/tags" Target="../tags/tag2085.xml"/><Relationship Id="rId100" Type="http://schemas.openxmlformats.org/officeDocument/2006/relationships/tags" Target="../tags/tag2108.xml"/><Relationship Id="rId105" Type="http://schemas.openxmlformats.org/officeDocument/2006/relationships/tags" Target="../tags/tag2113.xml"/><Relationship Id="rId126" Type="http://schemas.openxmlformats.org/officeDocument/2006/relationships/tags" Target="../tags/tag2134.xml"/><Relationship Id="rId8" Type="http://schemas.openxmlformats.org/officeDocument/2006/relationships/tags" Target="../tags/tag2016.xml"/><Relationship Id="rId51" Type="http://schemas.openxmlformats.org/officeDocument/2006/relationships/tags" Target="../tags/tag2059.xml"/><Relationship Id="rId72" Type="http://schemas.openxmlformats.org/officeDocument/2006/relationships/tags" Target="../tags/tag2080.xml"/><Relationship Id="rId93" Type="http://schemas.openxmlformats.org/officeDocument/2006/relationships/tags" Target="../tags/tag2101.xml"/><Relationship Id="rId98" Type="http://schemas.openxmlformats.org/officeDocument/2006/relationships/tags" Target="../tags/tag2106.xml"/><Relationship Id="rId121" Type="http://schemas.openxmlformats.org/officeDocument/2006/relationships/tags" Target="../tags/tag2129.xml"/><Relationship Id="rId3" Type="http://schemas.openxmlformats.org/officeDocument/2006/relationships/tags" Target="../tags/tag2011.xml"/><Relationship Id="rId25" Type="http://schemas.openxmlformats.org/officeDocument/2006/relationships/tags" Target="../tags/tag2033.xml"/><Relationship Id="rId46" Type="http://schemas.openxmlformats.org/officeDocument/2006/relationships/tags" Target="../tags/tag2054.xml"/><Relationship Id="rId67" Type="http://schemas.openxmlformats.org/officeDocument/2006/relationships/tags" Target="../tags/tag2075.xml"/><Relationship Id="rId116" Type="http://schemas.openxmlformats.org/officeDocument/2006/relationships/tags" Target="../tags/tag2124.xml"/><Relationship Id="rId20" Type="http://schemas.openxmlformats.org/officeDocument/2006/relationships/tags" Target="../tags/tag2028.xml"/><Relationship Id="rId41" Type="http://schemas.openxmlformats.org/officeDocument/2006/relationships/tags" Target="../tags/tag2049.xml"/><Relationship Id="rId62" Type="http://schemas.openxmlformats.org/officeDocument/2006/relationships/tags" Target="../tags/tag2070.xml"/><Relationship Id="rId83" Type="http://schemas.openxmlformats.org/officeDocument/2006/relationships/tags" Target="../tags/tag2091.xml"/><Relationship Id="rId88" Type="http://schemas.openxmlformats.org/officeDocument/2006/relationships/tags" Target="../tags/tag2096.xml"/><Relationship Id="rId111" Type="http://schemas.openxmlformats.org/officeDocument/2006/relationships/tags" Target="../tags/tag2119.xml"/><Relationship Id="rId132" Type="http://schemas.openxmlformats.org/officeDocument/2006/relationships/chart" Target="../charts/chart46.xml"/><Relationship Id="rId15" Type="http://schemas.openxmlformats.org/officeDocument/2006/relationships/tags" Target="../tags/tag2023.xml"/><Relationship Id="rId36" Type="http://schemas.openxmlformats.org/officeDocument/2006/relationships/tags" Target="../tags/tag2044.xml"/><Relationship Id="rId57" Type="http://schemas.openxmlformats.org/officeDocument/2006/relationships/tags" Target="../tags/tag2065.xml"/><Relationship Id="rId106" Type="http://schemas.openxmlformats.org/officeDocument/2006/relationships/tags" Target="../tags/tag2114.xml"/><Relationship Id="rId127" Type="http://schemas.openxmlformats.org/officeDocument/2006/relationships/tags" Target="../tags/tag2135.xml"/><Relationship Id="rId10" Type="http://schemas.openxmlformats.org/officeDocument/2006/relationships/tags" Target="../tags/tag2018.xml"/><Relationship Id="rId31" Type="http://schemas.openxmlformats.org/officeDocument/2006/relationships/tags" Target="../tags/tag2039.xml"/><Relationship Id="rId52" Type="http://schemas.openxmlformats.org/officeDocument/2006/relationships/tags" Target="../tags/tag2060.xml"/><Relationship Id="rId73" Type="http://schemas.openxmlformats.org/officeDocument/2006/relationships/tags" Target="../tags/tag2081.xml"/><Relationship Id="rId78" Type="http://schemas.openxmlformats.org/officeDocument/2006/relationships/tags" Target="../tags/tag2086.xml"/><Relationship Id="rId94" Type="http://schemas.openxmlformats.org/officeDocument/2006/relationships/tags" Target="../tags/tag2102.xml"/><Relationship Id="rId99" Type="http://schemas.openxmlformats.org/officeDocument/2006/relationships/tags" Target="../tags/tag2107.xml"/><Relationship Id="rId101" Type="http://schemas.openxmlformats.org/officeDocument/2006/relationships/tags" Target="../tags/tag2109.xml"/><Relationship Id="rId122" Type="http://schemas.openxmlformats.org/officeDocument/2006/relationships/tags" Target="../tags/tag2130.xml"/><Relationship Id="rId4" Type="http://schemas.openxmlformats.org/officeDocument/2006/relationships/tags" Target="../tags/tag2012.xml"/><Relationship Id="rId9" Type="http://schemas.openxmlformats.org/officeDocument/2006/relationships/tags" Target="../tags/tag2017.xml"/><Relationship Id="rId26" Type="http://schemas.openxmlformats.org/officeDocument/2006/relationships/tags" Target="../tags/tag2034.xml"/><Relationship Id="rId47" Type="http://schemas.openxmlformats.org/officeDocument/2006/relationships/tags" Target="../tags/tag2055.xml"/><Relationship Id="rId68" Type="http://schemas.openxmlformats.org/officeDocument/2006/relationships/tags" Target="../tags/tag2076.xml"/><Relationship Id="rId89" Type="http://schemas.openxmlformats.org/officeDocument/2006/relationships/tags" Target="../tags/tag2097.xml"/><Relationship Id="rId112" Type="http://schemas.openxmlformats.org/officeDocument/2006/relationships/tags" Target="../tags/tag2120.xml"/><Relationship Id="rId133" Type="http://schemas.openxmlformats.org/officeDocument/2006/relationships/chart" Target="../charts/chart47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79.xml"/><Relationship Id="rId117" Type="http://schemas.openxmlformats.org/officeDocument/2006/relationships/chart" Target="../charts/chart3.xml"/><Relationship Id="rId21" Type="http://schemas.openxmlformats.org/officeDocument/2006/relationships/tags" Target="../tags/tag174.xml"/><Relationship Id="rId42" Type="http://schemas.openxmlformats.org/officeDocument/2006/relationships/tags" Target="../tags/tag195.xml"/><Relationship Id="rId47" Type="http://schemas.openxmlformats.org/officeDocument/2006/relationships/tags" Target="../tags/tag200.xml"/><Relationship Id="rId63" Type="http://schemas.openxmlformats.org/officeDocument/2006/relationships/tags" Target="../tags/tag216.xml"/><Relationship Id="rId68" Type="http://schemas.openxmlformats.org/officeDocument/2006/relationships/tags" Target="../tags/tag221.xml"/><Relationship Id="rId84" Type="http://schemas.openxmlformats.org/officeDocument/2006/relationships/tags" Target="../tags/tag237.xml"/><Relationship Id="rId89" Type="http://schemas.openxmlformats.org/officeDocument/2006/relationships/tags" Target="../tags/tag242.xml"/><Relationship Id="rId112" Type="http://schemas.openxmlformats.org/officeDocument/2006/relationships/tags" Target="../tags/tag265.xml"/><Relationship Id="rId16" Type="http://schemas.openxmlformats.org/officeDocument/2006/relationships/tags" Target="../tags/tag169.xml"/><Relationship Id="rId107" Type="http://schemas.openxmlformats.org/officeDocument/2006/relationships/tags" Target="../tags/tag260.xml"/><Relationship Id="rId11" Type="http://schemas.openxmlformats.org/officeDocument/2006/relationships/tags" Target="../tags/tag164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53" Type="http://schemas.openxmlformats.org/officeDocument/2006/relationships/tags" Target="../tags/tag206.xml"/><Relationship Id="rId58" Type="http://schemas.openxmlformats.org/officeDocument/2006/relationships/tags" Target="../tags/tag211.xml"/><Relationship Id="rId74" Type="http://schemas.openxmlformats.org/officeDocument/2006/relationships/tags" Target="../tags/tag227.xml"/><Relationship Id="rId79" Type="http://schemas.openxmlformats.org/officeDocument/2006/relationships/tags" Target="../tags/tag232.xml"/><Relationship Id="rId102" Type="http://schemas.openxmlformats.org/officeDocument/2006/relationships/tags" Target="../tags/tag255.xml"/><Relationship Id="rId5" Type="http://schemas.openxmlformats.org/officeDocument/2006/relationships/tags" Target="../tags/tag158.xml"/><Relationship Id="rId90" Type="http://schemas.openxmlformats.org/officeDocument/2006/relationships/tags" Target="../tags/tag243.xml"/><Relationship Id="rId95" Type="http://schemas.openxmlformats.org/officeDocument/2006/relationships/tags" Target="../tags/tag248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43" Type="http://schemas.openxmlformats.org/officeDocument/2006/relationships/tags" Target="../tags/tag196.xml"/><Relationship Id="rId48" Type="http://schemas.openxmlformats.org/officeDocument/2006/relationships/tags" Target="../tags/tag201.xml"/><Relationship Id="rId64" Type="http://schemas.openxmlformats.org/officeDocument/2006/relationships/tags" Target="../tags/tag217.xml"/><Relationship Id="rId69" Type="http://schemas.openxmlformats.org/officeDocument/2006/relationships/tags" Target="../tags/tag222.xml"/><Relationship Id="rId113" Type="http://schemas.openxmlformats.org/officeDocument/2006/relationships/slideLayout" Target="../slideLayouts/slideLayout1.xml"/><Relationship Id="rId118" Type="http://schemas.openxmlformats.org/officeDocument/2006/relationships/chart" Target="../charts/chart4.xml"/><Relationship Id="rId80" Type="http://schemas.openxmlformats.org/officeDocument/2006/relationships/tags" Target="../tags/tag233.xml"/><Relationship Id="rId85" Type="http://schemas.openxmlformats.org/officeDocument/2006/relationships/tags" Target="../tags/tag238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59" Type="http://schemas.openxmlformats.org/officeDocument/2006/relationships/tags" Target="../tags/tag212.xml"/><Relationship Id="rId103" Type="http://schemas.openxmlformats.org/officeDocument/2006/relationships/tags" Target="../tags/tag256.xml"/><Relationship Id="rId108" Type="http://schemas.openxmlformats.org/officeDocument/2006/relationships/tags" Target="../tags/tag261.xml"/><Relationship Id="rId54" Type="http://schemas.openxmlformats.org/officeDocument/2006/relationships/tags" Target="../tags/tag207.xml"/><Relationship Id="rId70" Type="http://schemas.openxmlformats.org/officeDocument/2006/relationships/tags" Target="../tags/tag223.xml"/><Relationship Id="rId75" Type="http://schemas.openxmlformats.org/officeDocument/2006/relationships/tags" Target="../tags/tag228.xml"/><Relationship Id="rId91" Type="http://schemas.openxmlformats.org/officeDocument/2006/relationships/tags" Target="../tags/tag244.xml"/><Relationship Id="rId96" Type="http://schemas.openxmlformats.org/officeDocument/2006/relationships/tags" Target="../tags/tag249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49" Type="http://schemas.openxmlformats.org/officeDocument/2006/relationships/tags" Target="../tags/tag202.xml"/><Relationship Id="rId114" Type="http://schemas.openxmlformats.org/officeDocument/2006/relationships/notesSlide" Target="../notesSlides/notesSlide2.xml"/><Relationship Id="rId10" Type="http://schemas.openxmlformats.org/officeDocument/2006/relationships/tags" Target="../tags/tag163.xml"/><Relationship Id="rId31" Type="http://schemas.openxmlformats.org/officeDocument/2006/relationships/tags" Target="../tags/tag184.xml"/><Relationship Id="rId44" Type="http://schemas.openxmlformats.org/officeDocument/2006/relationships/tags" Target="../tags/tag197.xml"/><Relationship Id="rId52" Type="http://schemas.openxmlformats.org/officeDocument/2006/relationships/tags" Target="../tags/tag205.xml"/><Relationship Id="rId60" Type="http://schemas.openxmlformats.org/officeDocument/2006/relationships/tags" Target="../tags/tag213.xml"/><Relationship Id="rId65" Type="http://schemas.openxmlformats.org/officeDocument/2006/relationships/tags" Target="../tags/tag218.xml"/><Relationship Id="rId73" Type="http://schemas.openxmlformats.org/officeDocument/2006/relationships/tags" Target="../tags/tag226.xml"/><Relationship Id="rId78" Type="http://schemas.openxmlformats.org/officeDocument/2006/relationships/tags" Target="../tags/tag231.xml"/><Relationship Id="rId81" Type="http://schemas.openxmlformats.org/officeDocument/2006/relationships/tags" Target="../tags/tag234.xml"/><Relationship Id="rId86" Type="http://schemas.openxmlformats.org/officeDocument/2006/relationships/tags" Target="../tags/tag239.xml"/><Relationship Id="rId94" Type="http://schemas.openxmlformats.org/officeDocument/2006/relationships/tags" Target="../tags/tag247.xml"/><Relationship Id="rId99" Type="http://schemas.openxmlformats.org/officeDocument/2006/relationships/tags" Target="../tags/tag252.xml"/><Relationship Id="rId101" Type="http://schemas.openxmlformats.org/officeDocument/2006/relationships/tags" Target="../tags/tag254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9" Type="http://schemas.openxmlformats.org/officeDocument/2006/relationships/tags" Target="../tags/tag192.xml"/><Relationship Id="rId109" Type="http://schemas.openxmlformats.org/officeDocument/2006/relationships/tags" Target="../tags/tag262.xml"/><Relationship Id="rId34" Type="http://schemas.openxmlformats.org/officeDocument/2006/relationships/tags" Target="../tags/tag187.xml"/><Relationship Id="rId50" Type="http://schemas.openxmlformats.org/officeDocument/2006/relationships/tags" Target="../tags/tag203.xml"/><Relationship Id="rId55" Type="http://schemas.openxmlformats.org/officeDocument/2006/relationships/tags" Target="../tags/tag208.xml"/><Relationship Id="rId76" Type="http://schemas.openxmlformats.org/officeDocument/2006/relationships/tags" Target="../tags/tag229.xml"/><Relationship Id="rId97" Type="http://schemas.openxmlformats.org/officeDocument/2006/relationships/tags" Target="../tags/tag250.xml"/><Relationship Id="rId104" Type="http://schemas.openxmlformats.org/officeDocument/2006/relationships/tags" Target="../tags/tag257.xml"/><Relationship Id="rId7" Type="http://schemas.openxmlformats.org/officeDocument/2006/relationships/tags" Target="../tags/tag160.xml"/><Relationship Id="rId71" Type="http://schemas.openxmlformats.org/officeDocument/2006/relationships/tags" Target="../tags/tag224.xml"/><Relationship Id="rId92" Type="http://schemas.openxmlformats.org/officeDocument/2006/relationships/tags" Target="../tags/tag245.xml"/><Relationship Id="rId2" Type="http://schemas.openxmlformats.org/officeDocument/2006/relationships/tags" Target="../tags/tag155.xml"/><Relationship Id="rId29" Type="http://schemas.openxmlformats.org/officeDocument/2006/relationships/tags" Target="../tags/tag182.xml"/><Relationship Id="rId24" Type="http://schemas.openxmlformats.org/officeDocument/2006/relationships/tags" Target="../tags/tag177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66" Type="http://schemas.openxmlformats.org/officeDocument/2006/relationships/tags" Target="../tags/tag219.xml"/><Relationship Id="rId87" Type="http://schemas.openxmlformats.org/officeDocument/2006/relationships/tags" Target="../tags/tag240.xml"/><Relationship Id="rId110" Type="http://schemas.openxmlformats.org/officeDocument/2006/relationships/tags" Target="../tags/tag263.xml"/><Relationship Id="rId115" Type="http://schemas.openxmlformats.org/officeDocument/2006/relationships/oleObject" Target="../embeddings/oleObject3.bin"/><Relationship Id="rId61" Type="http://schemas.openxmlformats.org/officeDocument/2006/relationships/tags" Target="../tags/tag214.xml"/><Relationship Id="rId82" Type="http://schemas.openxmlformats.org/officeDocument/2006/relationships/tags" Target="../tags/tag235.xml"/><Relationship Id="rId19" Type="http://schemas.openxmlformats.org/officeDocument/2006/relationships/tags" Target="../tags/tag172.xml"/><Relationship Id="rId14" Type="http://schemas.openxmlformats.org/officeDocument/2006/relationships/tags" Target="../tags/tag167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56" Type="http://schemas.openxmlformats.org/officeDocument/2006/relationships/tags" Target="../tags/tag209.xml"/><Relationship Id="rId77" Type="http://schemas.openxmlformats.org/officeDocument/2006/relationships/tags" Target="../tags/tag230.xml"/><Relationship Id="rId100" Type="http://schemas.openxmlformats.org/officeDocument/2006/relationships/tags" Target="../tags/tag253.xml"/><Relationship Id="rId105" Type="http://schemas.openxmlformats.org/officeDocument/2006/relationships/tags" Target="../tags/tag258.xml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72" Type="http://schemas.openxmlformats.org/officeDocument/2006/relationships/tags" Target="../tags/tag225.xml"/><Relationship Id="rId93" Type="http://schemas.openxmlformats.org/officeDocument/2006/relationships/tags" Target="../tags/tag246.xml"/><Relationship Id="rId98" Type="http://schemas.openxmlformats.org/officeDocument/2006/relationships/tags" Target="../tags/tag251.xml"/><Relationship Id="rId3" Type="http://schemas.openxmlformats.org/officeDocument/2006/relationships/tags" Target="../tags/tag156.xml"/><Relationship Id="rId25" Type="http://schemas.openxmlformats.org/officeDocument/2006/relationships/tags" Target="../tags/tag178.xml"/><Relationship Id="rId46" Type="http://schemas.openxmlformats.org/officeDocument/2006/relationships/tags" Target="../tags/tag199.xml"/><Relationship Id="rId67" Type="http://schemas.openxmlformats.org/officeDocument/2006/relationships/tags" Target="../tags/tag220.xml"/><Relationship Id="rId116" Type="http://schemas.openxmlformats.org/officeDocument/2006/relationships/image" Target="../media/image2.emf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62" Type="http://schemas.openxmlformats.org/officeDocument/2006/relationships/tags" Target="../tags/tag215.xml"/><Relationship Id="rId83" Type="http://schemas.openxmlformats.org/officeDocument/2006/relationships/tags" Target="../tags/tag236.xml"/><Relationship Id="rId88" Type="http://schemas.openxmlformats.org/officeDocument/2006/relationships/tags" Target="../tags/tag241.xml"/><Relationship Id="rId111" Type="http://schemas.openxmlformats.org/officeDocument/2006/relationships/tags" Target="../tags/tag264.xml"/><Relationship Id="rId15" Type="http://schemas.openxmlformats.org/officeDocument/2006/relationships/tags" Target="../tags/tag168.xml"/><Relationship Id="rId36" Type="http://schemas.openxmlformats.org/officeDocument/2006/relationships/tags" Target="../tags/tag189.xml"/><Relationship Id="rId57" Type="http://schemas.openxmlformats.org/officeDocument/2006/relationships/tags" Target="../tags/tag210.xml"/><Relationship Id="rId106" Type="http://schemas.openxmlformats.org/officeDocument/2006/relationships/tags" Target="../tags/tag259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382.xml"/><Relationship Id="rId21" Type="http://schemas.openxmlformats.org/officeDocument/2006/relationships/tags" Target="../tags/tag286.xml"/><Relationship Id="rId42" Type="http://schemas.openxmlformats.org/officeDocument/2006/relationships/tags" Target="../tags/tag307.xml"/><Relationship Id="rId63" Type="http://schemas.openxmlformats.org/officeDocument/2006/relationships/tags" Target="../tags/tag328.xml"/><Relationship Id="rId84" Type="http://schemas.openxmlformats.org/officeDocument/2006/relationships/tags" Target="../tags/tag349.xml"/><Relationship Id="rId138" Type="http://schemas.openxmlformats.org/officeDocument/2006/relationships/tags" Target="../tags/tag403.xml"/><Relationship Id="rId159" Type="http://schemas.openxmlformats.org/officeDocument/2006/relationships/tags" Target="../tags/tag424.xml"/><Relationship Id="rId170" Type="http://schemas.openxmlformats.org/officeDocument/2006/relationships/tags" Target="../tags/tag435.xml"/><Relationship Id="rId107" Type="http://schemas.openxmlformats.org/officeDocument/2006/relationships/tags" Target="../tags/tag372.xml"/><Relationship Id="rId11" Type="http://schemas.openxmlformats.org/officeDocument/2006/relationships/tags" Target="../tags/tag276.xml"/><Relationship Id="rId32" Type="http://schemas.openxmlformats.org/officeDocument/2006/relationships/tags" Target="../tags/tag297.xml"/><Relationship Id="rId53" Type="http://schemas.openxmlformats.org/officeDocument/2006/relationships/tags" Target="../tags/tag318.xml"/><Relationship Id="rId74" Type="http://schemas.openxmlformats.org/officeDocument/2006/relationships/tags" Target="../tags/tag339.xml"/><Relationship Id="rId128" Type="http://schemas.openxmlformats.org/officeDocument/2006/relationships/tags" Target="../tags/tag393.xml"/><Relationship Id="rId149" Type="http://schemas.openxmlformats.org/officeDocument/2006/relationships/tags" Target="../tags/tag414.xml"/><Relationship Id="rId5" Type="http://schemas.openxmlformats.org/officeDocument/2006/relationships/tags" Target="../tags/tag270.xml"/><Relationship Id="rId95" Type="http://schemas.openxmlformats.org/officeDocument/2006/relationships/tags" Target="../tags/tag360.xml"/><Relationship Id="rId160" Type="http://schemas.openxmlformats.org/officeDocument/2006/relationships/tags" Target="../tags/tag425.xml"/><Relationship Id="rId181" Type="http://schemas.openxmlformats.org/officeDocument/2006/relationships/chart" Target="../charts/chart6.xml"/><Relationship Id="rId22" Type="http://schemas.openxmlformats.org/officeDocument/2006/relationships/tags" Target="../tags/tag287.xml"/><Relationship Id="rId43" Type="http://schemas.openxmlformats.org/officeDocument/2006/relationships/tags" Target="../tags/tag308.xml"/><Relationship Id="rId64" Type="http://schemas.openxmlformats.org/officeDocument/2006/relationships/tags" Target="../tags/tag329.xml"/><Relationship Id="rId118" Type="http://schemas.openxmlformats.org/officeDocument/2006/relationships/tags" Target="../tags/tag383.xml"/><Relationship Id="rId139" Type="http://schemas.openxmlformats.org/officeDocument/2006/relationships/tags" Target="../tags/tag404.xml"/><Relationship Id="rId85" Type="http://schemas.openxmlformats.org/officeDocument/2006/relationships/tags" Target="../tags/tag350.xml"/><Relationship Id="rId150" Type="http://schemas.openxmlformats.org/officeDocument/2006/relationships/tags" Target="../tags/tag415.xml"/><Relationship Id="rId171" Type="http://schemas.openxmlformats.org/officeDocument/2006/relationships/tags" Target="../tags/tag436.xml"/><Relationship Id="rId12" Type="http://schemas.openxmlformats.org/officeDocument/2006/relationships/tags" Target="../tags/tag277.xml"/><Relationship Id="rId33" Type="http://schemas.openxmlformats.org/officeDocument/2006/relationships/tags" Target="../tags/tag298.xml"/><Relationship Id="rId108" Type="http://schemas.openxmlformats.org/officeDocument/2006/relationships/tags" Target="../tags/tag373.xml"/><Relationship Id="rId129" Type="http://schemas.openxmlformats.org/officeDocument/2006/relationships/tags" Target="../tags/tag394.xml"/><Relationship Id="rId54" Type="http://schemas.openxmlformats.org/officeDocument/2006/relationships/tags" Target="../tags/tag319.xml"/><Relationship Id="rId75" Type="http://schemas.openxmlformats.org/officeDocument/2006/relationships/tags" Target="../tags/tag340.xml"/><Relationship Id="rId96" Type="http://schemas.openxmlformats.org/officeDocument/2006/relationships/tags" Target="../tags/tag361.xml"/><Relationship Id="rId140" Type="http://schemas.openxmlformats.org/officeDocument/2006/relationships/tags" Target="../tags/tag405.xml"/><Relationship Id="rId161" Type="http://schemas.openxmlformats.org/officeDocument/2006/relationships/tags" Target="../tags/tag426.xml"/><Relationship Id="rId6" Type="http://schemas.openxmlformats.org/officeDocument/2006/relationships/tags" Target="../tags/tag271.xml"/><Relationship Id="rId23" Type="http://schemas.openxmlformats.org/officeDocument/2006/relationships/tags" Target="../tags/tag288.xml"/><Relationship Id="rId119" Type="http://schemas.openxmlformats.org/officeDocument/2006/relationships/tags" Target="../tags/tag384.xml"/><Relationship Id="rId44" Type="http://schemas.openxmlformats.org/officeDocument/2006/relationships/tags" Target="../tags/tag309.xml"/><Relationship Id="rId60" Type="http://schemas.openxmlformats.org/officeDocument/2006/relationships/tags" Target="../tags/tag325.xml"/><Relationship Id="rId65" Type="http://schemas.openxmlformats.org/officeDocument/2006/relationships/tags" Target="../tags/tag330.xml"/><Relationship Id="rId81" Type="http://schemas.openxmlformats.org/officeDocument/2006/relationships/tags" Target="../tags/tag346.xml"/><Relationship Id="rId86" Type="http://schemas.openxmlformats.org/officeDocument/2006/relationships/tags" Target="../tags/tag351.xml"/><Relationship Id="rId130" Type="http://schemas.openxmlformats.org/officeDocument/2006/relationships/tags" Target="../tags/tag395.xml"/><Relationship Id="rId135" Type="http://schemas.openxmlformats.org/officeDocument/2006/relationships/tags" Target="../tags/tag400.xml"/><Relationship Id="rId151" Type="http://schemas.openxmlformats.org/officeDocument/2006/relationships/tags" Target="../tags/tag416.xml"/><Relationship Id="rId156" Type="http://schemas.openxmlformats.org/officeDocument/2006/relationships/tags" Target="../tags/tag421.xml"/><Relationship Id="rId177" Type="http://schemas.openxmlformats.org/officeDocument/2006/relationships/notesSlide" Target="../notesSlides/notesSlide3.xml"/><Relationship Id="rId172" Type="http://schemas.openxmlformats.org/officeDocument/2006/relationships/tags" Target="../tags/tag437.xml"/><Relationship Id="rId13" Type="http://schemas.openxmlformats.org/officeDocument/2006/relationships/tags" Target="../tags/tag278.xml"/><Relationship Id="rId18" Type="http://schemas.openxmlformats.org/officeDocument/2006/relationships/tags" Target="../tags/tag283.xml"/><Relationship Id="rId39" Type="http://schemas.openxmlformats.org/officeDocument/2006/relationships/tags" Target="../tags/tag304.xml"/><Relationship Id="rId109" Type="http://schemas.openxmlformats.org/officeDocument/2006/relationships/tags" Target="../tags/tag374.xml"/><Relationship Id="rId34" Type="http://schemas.openxmlformats.org/officeDocument/2006/relationships/tags" Target="../tags/tag299.xml"/><Relationship Id="rId50" Type="http://schemas.openxmlformats.org/officeDocument/2006/relationships/tags" Target="../tags/tag315.xml"/><Relationship Id="rId55" Type="http://schemas.openxmlformats.org/officeDocument/2006/relationships/tags" Target="../tags/tag320.xml"/><Relationship Id="rId76" Type="http://schemas.openxmlformats.org/officeDocument/2006/relationships/tags" Target="../tags/tag341.xml"/><Relationship Id="rId97" Type="http://schemas.openxmlformats.org/officeDocument/2006/relationships/tags" Target="../tags/tag362.xml"/><Relationship Id="rId104" Type="http://schemas.openxmlformats.org/officeDocument/2006/relationships/tags" Target="../tags/tag369.xml"/><Relationship Id="rId120" Type="http://schemas.openxmlformats.org/officeDocument/2006/relationships/tags" Target="../tags/tag385.xml"/><Relationship Id="rId125" Type="http://schemas.openxmlformats.org/officeDocument/2006/relationships/tags" Target="../tags/tag390.xml"/><Relationship Id="rId141" Type="http://schemas.openxmlformats.org/officeDocument/2006/relationships/tags" Target="../tags/tag406.xml"/><Relationship Id="rId146" Type="http://schemas.openxmlformats.org/officeDocument/2006/relationships/tags" Target="../tags/tag411.xml"/><Relationship Id="rId167" Type="http://schemas.openxmlformats.org/officeDocument/2006/relationships/tags" Target="../tags/tag432.xml"/><Relationship Id="rId7" Type="http://schemas.openxmlformats.org/officeDocument/2006/relationships/tags" Target="../tags/tag272.xml"/><Relationship Id="rId71" Type="http://schemas.openxmlformats.org/officeDocument/2006/relationships/tags" Target="../tags/tag336.xml"/><Relationship Id="rId92" Type="http://schemas.openxmlformats.org/officeDocument/2006/relationships/tags" Target="../tags/tag357.xml"/><Relationship Id="rId162" Type="http://schemas.openxmlformats.org/officeDocument/2006/relationships/tags" Target="../tags/tag427.xml"/><Relationship Id="rId2" Type="http://schemas.openxmlformats.org/officeDocument/2006/relationships/tags" Target="../tags/tag267.xml"/><Relationship Id="rId29" Type="http://schemas.openxmlformats.org/officeDocument/2006/relationships/tags" Target="../tags/tag294.xml"/><Relationship Id="rId24" Type="http://schemas.openxmlformats.org/officeDocument/2006/relationships/tags" Target="../tags/tag289.xml"/><Relationship Id="rId40" Type="http://schemas.openxmlformats.org/officeDocument/2006/relationships/tags" Target="../tags/tag305.xml"/><Relationship Id="rId45" Type="http://schemas.openxmlformats.org/officeDocument/2006/relationships/tags" Target="../tags/tag310.xml"/><Relationship Id="rId66" Type="http://schemas.openxmlformats.org/officeDocument/2006/relationships/tags" Target="../tags/tag331.xml"/><Relationship Id="rId87" Type="http://schemas.openxmlformats.org/officeDocument/2006/relationships/tags" Target="../tags/tag352.xml"/><Relationship Id="rId110" Type="http://schemas.openxmlformats.org/officeDocument/2006/relationships/tags" Target="../tags/tag375.xml"/><Relationship Id="rId115" Type="http://schemas.openxmlformats.org/officeDocument/2006/relationships/tags" Target="../tags/tag380.xml"/><Relationship Id="rId131" Type="http://schemas.openxmlformats.org/officeDocument/2006/relationships/tags" Target="../tags/tag396.xml"/><Relationship Id="rId136" Type="http://schemas.openxmlformats.org/officeDocument/2006/relationships/tags" Target="../tags/tag401.xml"/><Relationship Id="rId157" Type="http://schemas.openxmlformats.org/officeDocument/2006/relationships/tags" Target="../tags/tag422.xml"/><Relationship Id="rId178" Type="http://schemas.openxmlformats.org/officeDocument/2006/relationships/oleObject" Target="../embeddings/oleObject4.bin"/><Relationship Id="rId61" Type="http://schemas.openxmlformats.org/officeDocument/2006/relationships/tags" Target="../tags/tag326.xml"/><Relationship Id="rId82" Type="http://schemas.openxmlformats.org/officeDocument/2006/relationships/tags" Target="../tags/tag347.xml"/><Relationship Id="rId152" Type="http://schemas.openxmlformats.org/officeDocument/2006/relationships/tags" Target="../tags/tag417.xml"/><Relationship Id="rId173" Type="http://schemas.openxmlformats.org/officeDocument/2006/relationships/tags" Target="../tags/tag438.xml"/><Relationship Id="rId19" Type="http://schemas.openxmlformats.org/officeDocument/2006/relationships/tags" Target="../tags/tag284.xml"/><Relationship Id="rId14" Type="http://schemas.openxmlformats.org/officeDocument/2006/relationships/tags" Target="../tags/tag279.xml"/><Relationship Id="rId30" Type="http://schemas.openxmlformats.org/officeDocument/2006/relationships/tags" Target="../tags/tag295.xml"/><Relationship Id="rId35" Type="http://schemas.openxmlformats.org/officeDocument/2006/relationships/tags" Target="../tags/tag300.xml"/><Relationship Id="rId56" Type="http://schemas.openxmlformats.org/officeDocument/2006/relationships/tags" Target="../tags/tag321.xml"/><Relationship Id="rId77" Type="http://schemas.openxmlformats.org/officeDocument/2006/relationships/tags" Target="../tags/tag342.xml"/><Relationship Id="rId100" Type="http://schemas.openxmlformats.org/officeDocument/2006/relationships/tags" Target="../tags/tag365.xml"/><Relationship Id="rId105" Type="http://schemas.openxmlformats.org/officeDocument/2006/relationships/tags" Target="../tags/tag370.xml"/><Relationship Id="rId126" Type="http://schemas.openxmlformats.org/officeDocument/2006/relationships/tags" Target="../tags/tag391.xml"/><Relationship Id="rId147" Type="http://schemas.openxmlformats.org/officeDocument/2006/relationships/tags" Target="../tags/tag412.xml"/><Relationship Id="rId168" Type="http://schemas.openxmlformats.org/officeDocument/2006/relationships/tags" Target="../tags/tag433.xml"/><Relationship Id="rId8" Type="http://schemas.openxmlformats.org/officeDocument/2006/relationships/tags" Target="../tags/tag273.xml"/><Relationship Id="rId51" Type="http://schemas.openxmlformats.org/officeDocument/2006/relationships/tags" Target="../tags/tag316.xml"/><Relationship Id="rId72" Type="http://schemas.openxmlformats.org/officeDocument/2006/relationships/tags" Target="../tags/tag337.xml"/><Relationship Id="rId93" Type="http://schemas.openxmlformats.org/officeDocument/2006/relationships/tags" Target="../tags/tag358.xml"/><Relationship Id="rId98" Type="http://schemas.openxmlformats.org/officeDocument/2006/relationships/tags" Target="../tags/tag363.xml"/><Relationship Id="rId121" Type="http://schemas.openxmlformats.org/officeDocument/2006/relationships/tags" Target="../tags/tag386.xml"/><Relationship Id="rId142" Type="http://schemas.openxmlformats.org/officeDocument/2006/relationships/tags" Target="../tags/tag407.xml"/><Relationship Id="rId163" Type="http://schemas.openxmlformats.org/officeDocument/2006/relationships/tags" Target="../tags/tag428.xml"/><Relationship Id="rId3" Type="http://schemas.openxmlformats.org/officeDocument/2006/relationships/tags" Target="../tags/tag268.xml"/><Relationship Id="rId25" Type="http://schemas.openxmlformats.org/officeDocument/2006/relationships/tags" Target="../tags/tag290.xml"/><Relationship Id="rId46" Type="http://schemas.openxmlformats.org/officeDocument/2006/relationships/tags" Target="../tags/tag311.xml"/><Relationship Id="rId67" Type="http://schemas.openxmlformats.org/officeDocument/2006/relationships/tags" Target="../tags/tag332.xml"/><Relationship Id="rId116" Type="http://schemas.openxmlformats.org/officeDocument/2006/relationships/tags" Target="../tags/tag381.xml"/><Relationship Id="rId137" Type="http://schemas.openxmlformats.org/officeDocument/2006/relationships/tags" Target="../tags/tag402.xml"/><Relationship Id="rId158" Type="http://schemas.openxmlformats.org/officeDocument/2006/relationships/tags" Target="../tags/tag423.xml"/><Relationship Id="rId20" Type="http://schemas.openxmlformats.org/officeDocument/2006/relationships/tags" Target="../tags/tag285.xml"/><Relationship Id="rId41" Type="http://schemas.openxmlformats.org/officeDocument/2006/relationships/tags" Target="../tags/tag306.xml"/><Relationship Id="rId62" Type="http://schemas.openxmlformats.org/officeDocument/2006/relationships/tags" Target="../tags/tag327.xml"/><Relationship Id="rId83" Type="http://schemas.openxmlformats.org/officeDocument/2006/relationships/tags" Target="../tags/tag348.xml"/><Relationship Id="rId88" Type="http://schemas.openxmlformats.org/officeDocument/2006/relationships/tags" Target="../tags/tag353.xml"/><Relationship Id="rId111" Type="http://schemas.openxmlformats.org/officeDocument/2006/relationships/tags" Target="../tags/tag376.xml"/><Relationship Id="rId132" Type="http://schemas.openxmlformats.org/officeDocument/2006/relationships/tags" Target="../tags/tag397.xml"/><Relationship Id="rId153" Type="http://schemas.openxmlformats.org/officeDocument/2006/relationships/tags" Target="../tags/tag418.xml"/><Relationship Id="rId174" Type="http://schemas.openxmlformats.org/officeDocument/2006/relationships/tags" Target="../tags/tag439.xml"/><Relationship Id="rId179" Type="http://schemas.openxmlformats.org/officeDocument/2006/relationships/image" Target="../media/image2.emf"/><Relationship Id="rId15" Type="http://schemas.openxmlformats.org/officeDocument/2006/relationships/tags" Target="../tags/tag280.xml"/><Relationship Id="rId36" Type="http://schemas.openxmlformats.org/officeDocument/2006/relationships/tags" Target="../tags/tag301.xml"/><Relationship Id="rId57" Type="http://schemas.openxmlformats.org/officeDocument/2006/relationships/tags" Target="../tags/tag322.xml"/><Relationship Id="rId106" Type="http://schemas.openxmlformats.org/officeDocument/2006/relationships/tags" Target="../tags/tag371.xml"/><Relationship Id="rId127" Type="http://schemas.openxmlformats.org/officeDocument/2006/relationships/tags" Target="../tags/tag392.xml"/><Relationship Id="rId10" Type="http://schemas.openxmlformats.org/officeDocument/2006/relationships/tags" Target="../tags/tag275.xml"/><Relationship Id="rId31" Type="http://schemas.openxmlformats.org/officeDocument/2006/relationships/tags" Target="../tags/tag296.xml"/><Relationship Id="rId52" Type="http://schemas.openxmlformats.org/officeDocument/2006/relationships/tags" Target="../tags/tag317.xml"/><Relationship Id="rId73" Type="http://schemas.openxmlformats.org/officeDocument/2006/relationships/tags" Target="../tags/tag338.xml"/><Relationship Id="rId78" Type="http://schemas.openxmlformats.org/officeDocument/2006/relationships/tags" Target="../tags/tag343.xml"/><Relationship Id="rId94" Type="http://schemas.openxmlformats.org/officeDocument/2006/relationships/tags" Target="../tags/tag359.xml"/><Relationship Id="rId99" Type="http://schemas.openxmlformats.org/officeDocument/2006/relationships/tags" Target="../tags/tag364.xml"/><Relationship Id="rId101" Type="http://schemas.openxmlformats.org/officeDocument/2006/relationships/tags" Target="../tags/tag366.xml"/><Relationship Id="rId122" Type="http://schemas.openxmlformats.org/officeDocument/2006/relationships/tags" Target="../tags/tag387.xml"/><Relationship Id="rId143" Type="http://schemas.openxmlformats.org/officeDocument/2006/relationships/tags" Target="../tags/tag408.xml"/><Relationship Id="rId148" Type="http://schemas.openxmlformats.org/officeDocument/2006/relationships/tags" Target="../tags/tag413.xml"/><Relationship Id="rId164" Type="http://schemas.openxmlformats.org/officeDocument/2006/relationships/tags" Target="../tags/tag429.xml"/><Relationship Id="rId169" Type="http://schemas.openxmlformats.org/officeDocument/2006/relationships/tags" Target="../tags/tag434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80" Type="http://schemas.openxmlformats.org/officeDocument/2006/relationships/chart" Target="../charts/chart5.xml"/><Relationship Id="rId26" Type="http://schemas.openxmlformats.org/officeDocument/2006/relationships/tags" Target="../tags/tag291.xml"/><Relationship Id="rId47" Type="http://schemas.openxmlformats.org/officeDocument/2006/relationships/tags" Target="../tags/tag312.xml"/><Relationship Id="rId68" Type="http://schemas.openxmlformats.org/officeDocument/2006/relationships/tags" Target="../tags/tag333.xml"/><Relationship Id="rId89" Type="http://schemas.openxmlformats.org/officeDocument/2006/relationships/tags" Target="../tags/tag354.xml"/><Relationship Id="rId112" Type="http://schemas.openxmlformats.org/officeDocument/2006/relationships/tags" Target="../tags/tag377.xml"/><Relationship Id="rId133" Type="http://schemas.openxmlformats.org/officeDocument/2006/relationships/tags" Target="../tags/tag398.xml"/><Relationship Id="rId154" Type="http://schemas.openxmlformats.org/officeDocument/2006/relationships/tags" Target="../tags/tag419.xml"/><Relationship Id="rId175" Type="http://schemas.openxmlformats.org/officeDocument/2006/relationships/tags" Target="../tags/tag440.xml"/><Relationship Id="rId16" Type="http://schemas.openxmlformats.org/officeDocument/2006/relationships/tags" Target="../tags/tag281.xml"/><Relationship Id="rId37" Type="http://schemas.openxmlformats.org/officeDocument/2006/relationships/tags" Target="../tags/tag302.xml"/><Relationship Id="rId58" Type="http://schemas.openxmlformats.org/officeDocument/2006/relationships/tags" Target="../tags/tag323.xml"/><Relationship Id="rId79" Type="http://schemas.openxmlformats.org/officeDocument/2006/relationships/tags" Target="../tags/tag344.xml"/><Relationship Id="rId102" Type="http://schemas.openxmlformats.org/officeDocument/2006/relationships/tags" Target="../tags/tag367.xml"/><Relationship Id="rId123" Type="http://schemas.openxmlformats.org/officeDocument/2006/relationships/tags" Target="../tags/tag388.xml"/><Relationship Id="rId144" Type="http://schemas.openxmlformats.org/officeDocument/2006/relationships/tags" Target="../tags/tag409.xml"/><Relationship Id="rId90" Type="http://schemas.openxmlformats.org/officeDocument/2006/relationships/tags" Target="../tags/tag355.xml"/><Relationship Id="rId165" Type="http://schemas.openxmlformats.org/officeDocument/2006/relationships/tags" Target="../tags/tag430.xml"/><Relationship Id="rId27" Type="http://schemas.openxmlformats.org/officeDocument/2006/relationships/tags" Target="../tags/tag292.xml"/><Relationship Id="rId48" Type="http://schemas.openxmlformats.org/officeDocument/2006/relationships/tags" Target="../tags/tag313.xml"/><Relationship Id="rId69" Type="http://schemas.openxmlformats.org/officeDocument/2006/relationships/tags" Target="../tags/tag334.xml"/><Relationship Id="rId113" Type="http://schemas.openxmlformats.org/officeDocument/2006/relationships/tags" Target="../tags/tag378.xml"/><Relationship Id="rId134" Type="http://schemas.openxmlformats.org/officeDocument/2006/relationships/tags" Target="../tags/tag399.xml"/><Relationship Id="rId80" Type="http://schemas.openxmlformats.org/officeDocument/2006/relationships/tags" Target="../tags/tag345.xml"/><Relationship Id="rId155" Type="http://schemas.openxmlformats.org/officeDocument/2006/relationships/tags" Target="../tags/tag420.xml"/><Relationship Id="rId176" Type="http://schemas.openxmlformats.org/officeDocument/2006/relationships/slideLayout" Target="../slideLayouts/slideLayout1.xml"/><Relationship Id="rId17" Type="http://schemas.openxmlformats.org/officeDocument/2006/relationships/tags" Target="../tags/tag282.xml"/><Relationship Id="rId38" Type="http://schemas.openxmlformats.org/officeDocument/2006/relationships/tags" Target="../tags/tag303.xml"/><Relationship Id="rId59" Type="http://schemas.openxmlformats.org/officeDocument/2006/relationships/tags" Target="../tags/tag324.xml"/><Relationship Id="rId103" Type="http://schemas.openxmlformats.org/officeDocument/2006/relationships/tags" Target="../tags/tag368.xml"/><Relationship Id="rId124" Type="http://schemas.openxmlformats.org/officeDocument/2006/relationships/tags" Target="../tags/tag389.xml"/><Relationship Id="rId70" Type="http://schemas.openxmlformats.org/officeDocument/2006/relationships/tags" Target="../tags/tag335.xml"/><Relationship Id="rId91" Type="http://schemas.openxmlformats.org/officeDocument/2006/relationships/tags" Target="../tags/tag356.xml"/><Relationship Id="rId145" Type="http://schemas.openxmlformats.org/officeDocument/2006/relationships/tags" Target="../tags/tag410.xml"/><Relationship Id="rId166" Type="http://schemas.openxmlformats.org/officeDocument/2006/relationships/tags" Target="../tags/tag431.xml"/><Relationship Id="rId1" Type="http://schemas.openxmlformats.org/officeDocument/2006/relationships/tags" Target="../tags/tag266.xml"/><Relationship Id="rId28" Type="http://schemas.openxmlformats.org/officeDocument/2006/relationships/tags" Target="../tags/tag293.xml"/><Relationship Id="rId49" Type="http://schemas.openxmlformats.org/officeDocument/2006/relationships/tags" Target="../tags/tag314.xml"/><Relationship Id="rId114" Type="http://schemas.openxmlformats.org/officeDocument/2006/relationships/tags" Target="../tags/tag379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66.xml"/><Relationship Id="rId21" Type="http://schemas.openxmlformats.org/officeDocument/2006/relationships/tags" Target="../tags/tag461.xml"/><Relationship Id="rId42" Type="http://schemas.openxmlformats.org/officeDocument/2006/relationships/tags" Target="../tags/tag482.xml"/><Relationship Id="rId47" Type="http://schemas.openxmlformats.org/officeDocument/2006/relationships/tags" Target="../tags/tag487.xml"/><Relationship Id="rId63" Type="http://schemas.openxmlformats.org/officeDocument/2006/relationships/tags" Target="../tags/tag503.xml"/><Relationship Id="rId68" Type="http://schemas.openxmlformats.org/officeDocument/2006/relationships/tags" Target="../tags/tag508.xml"/><Relationship Id="rId84" Type="http://schemas.openxmlformats.org/officeDocument/2006/relationships/tags" Target="../tags/tag524.xml"/><Relationship Id="rId89" Type="http://schemas.openxmlformats.org/officeDocument/2006/relationships/tags" Target="../tags/tag529.xml"/><Relationship Id="rId16" Type="http://schemas.openxmlformats.org/officeDocument/2006/relationships/tags" Target="../tags/tag456.xml"/><Relationship Id="rId11" Type="http://schemas.openxmlformats.org/officeDocument/2006/relationships/tags" Target="../tags/tag451.xml"/><Relationship Id="rId32" Type="http://schemas.openxmlformats.org/officeDocument/2006/relationships/tags" Target="../tags/tag472.xml"/><Relationship Id="rId37" Type="http://schemas.openxmlformats.org/officeDocument/2006/relationships/tags" Target="../tags/tag477.xml"/><Relationship Id="rId53" Type="http://schemas.openxmlformats.org/officeDocument/2006/relationships/tags" Target="../tags/tag493.xml"/><Relationship Id="rId58" Type="http://schemas.openxmlformats.org/officeDocument/2006/relationships/tags" Target="../tags/tag498.xml"/><Relationship Id="rId74" Type="http://schemas.openxmlformats.org/officeDocument/2006/relationships/tags" Target="../tags/tag514.xml"/><Relationship Id="rId79" Type="http://schemas.openxmlformats.org/officeDocument/2006/relationships/tags" Target="../tags/tag519.xml"/><Relationship Id="rId5" Type="http://schemas.openxmlformats.org/officeDocument/2006/relationships/tags" Target="../tags/tag445.xml"/><Relationship Id="rId90" Type="http://schemas.openxmlformats.org/officeDocument/2006/relationships/tags" Target="../tags/tag530.xml"/><Relationship Id="rId95" Type="http://schemas.openxmlformats.org/officeDocument/2006/relationships/tags" Target="../tags/tag535.xml"/><Relationship Id="rId22" Type="http://schemas.openxmlformats.org/officeDocument/2006/relationships/tags" Target="../tags/tag462.xml"/><Relationship Id="rId27" Type="http://schemas.openxmlformats.org/officeDocument/2006/relationships/tags" Target="../tags/tag467.xml"/><Relationship Id="rId43" Type="http://schemas.openxmlformats.org/officeDocument/2006/relationships/tags" Target="../tags/tag483.xml"/><Relationship Id="rId48" Type="http://schemas.openxmlformats.org/officeDocument/2006/relationships/tags" Target="../tags/tag488.xml"/><Relationship Id="rId64" Type="http://schemas.openxmlformats.org/officeDocument/2006/relationships/tags" Target="../tags/tag504.xml"/><Relationship Id="rId69" Type="http://schemas.openxmlformats.org/officeDocument/2006/relationships/tags" Target="../tags/tag509.xml"/><Relationship Id="rId80" Type="http://schemas.openxmlformats.org/officeDocument/2006/relationships/tags" Target="../tags/tag520.xml"/><Relationship Id="rId85" Type="http://schemas.openxmlformats.org/officeDocument/2006/relationships/tags" Target="../tags/tag525.xml"/><Relationship Id="rId12" Type="http://schemas.openxmlformats.org/officeDocument/2006/relationships/tags" Target="../tags/tag452.xml"/><Relationship Id="rId17" Type="http://schemas.openxmlformats.org/officeDocument/2006/relationships/tags" Target="../tags/tag457.xml"/><Relationship Id="rId25" Type="http://schemas.openxmlformats.org/officeDocument/2006/relationships/tags" Target="../tags/tag465.xml"/><Relationship Id="rId33" Type="http://schemas.openxmlformats.org/officeDocument/2006/relationships/tags" Target="../tags/tag473.xml"/><Relationship Id="rId38" Type="http://schemas.openxmlformats.org/officeDocument/2006/relationships/tags" Target="../tags/tag478.xml"/><Relationship Id="rId46" Type="http://schemas.openxmlformats.org/officeDocument/2006/relationships/tags" Target="../tags/tag486.xml"/><Relationship Id="rId59" Type="http://schemas.openxmlformats.org/officeDocument/2006/relationships/tags" Target="../tags/tag499.xml"/><Relationship Id="rId67" Type="http://schemas.openxmlformats.org/officeDocument/2006/relationships/tags" Target="../tags/tag507.xml"/><Relationship Id="rId20" Type="http://schemas.openxmlformats.org/officeDocument/2006/relationships/tags" Target="../tags/tag460.xml"/><Relationship Id="rId41" Type="http://schemas.openxmlformats.org/officeDocument/2006/relationships/tags" Target="../tags/tag481.xml"/><Relationship Id="rId54" Type="http://schemas.openxmlformats.org/officeDocument/2006/relationships/tags" Target="../tags/tag494.xml"/><Relationship Id="rId62" Type="http://schemas.openxmlformats.org/officeDocument/2006/relationships/tags" Target="../tags/tag502.xml"/><Relationship Id="rId70" Type="http://schemas.openxmlformats.org/officeDocument/2006/relationships/tags" Target="../tags/tag510.xml"/><Relationship Id="rId75" Type="http://schemas.openxmlformats.org/officeDocument/2006/relationships/tags" Target="../tags/tag515.xml"/><Relationship Id="rId83" Type="http://schemas.openxmlformats.org/officeDocument/2006/relationships/tags" Target="../tags/tag523.xml"/><Relationship Id="rId88" Type="http://schemas.openxmlformats.org/officeDocument/2006/relationships/tags" Target="../tags/tag528.xml"/><Relationship Id="rId91" Type="http://schemas.openxmlformats.org/officeDocument/2006/relationships/tags" Target="../tags/tag531.xml"/><Relationship Id="rId96" Type="http://schemas.openxmlformats.org/officeDocument/2006/relationships/slideLayout" Target="../slideLayouts/slideLayout1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15" Type="http://schemas.openxmlformats.org/officeDocument/2006/relationships/tags" Target="../tags/tag455.xml"/><Relationship Id="rId23" Type="http://schemas.openxmlformats.org/officeDocument/2006/relationships/tags" Target="../tags/tag463.xml"/><Relationship Id="rId28" Type="http://schemas.openxmlformats.org/officeDocument/2006/relationships/tags" Target="../tags/tag468.xml"/><Relationship Id="rId36" Type="http://schemas.openxmlformats.org/officeDocument/2006/relationships/tags" Target="../tags/tag476.xml"/><Relationship Id="rId49" Type="http://schemas.openxmlformats.org/officeDocument/2006/relationships/tags" Target="../tags/tag489.xml"/><Relationship Id="rId57" Type="http://schemas.openxmlformats.org/officeDocument/2006/relationships/tags" Target="../tags/tag497.xml"/><Relationship Id="rId10" Type="http://schemas.openxmlformats.org/officeDocument/2006/relationships/tags" Target="../tags/tag450.xml"/><Relationship Id="rId31" Type="http://schemas.openxmlformats.org/officeDocument/2006/relationships/tags" Target="../tags/tag471.xml"/><Relationship Id="rId44" Type="http://schemas.openxmlformats.org/officeDocument/2006/relationships/tags" Target="../tags/tag484.xml"/><Relationship Id="rId52" Type="http://schemas.openxmlformats.org/officeDocument/2006/relationships/tags" Target="../tags/tag492.xml"/><Relationship Id="rId60" Type="http://schemas.openxmlformats.org/officeDocument/2006/relationships/tags" Target="../tags/tag500.xml"/><Relationship Id="rId65" Type="http://schemas.openxmlformats.org/officeDocument/2006/relationships/tags" Target="../tags/tag505.xml"/><Relationship Id="rId73" Type="http://schemas.openxmlformats.org/officeDocument/2006/relationships/tags" Target="../tags/tag513.xml"/><Relationship Id="rId78" Type="http://schemas.openxmlformats.org/officeDocument/2006/relationships/tags" Target="../tags/tag518.xml"/><Relationship Id="rId81" Type="http://schemas.openxmlformats.org/officeDocument/2006/relationships/tags" Target="../tags/tag521.xml"/><Relationship Id="rId86" Type="http://schemas.openxmlformats.org/officeDocument/2006/relationships/tags" Target="../tags/tag526.xml"/><Relationship Id="rId94" Type="http://schemas.openxmlformats.org/officeDocument/2006/relationships/tags" Target="../tags/tag534.xml"/><Relationship Id="rId99" Type="http://schemas.openxmlformats.org/officeDocument/2006/relationships/image" Target="../media/image2.emf"/><Relationship Id="rId101" Type="http://schemas.openxmlformats.org/officeDocument/2006/relationships/chart" Target="../charts/chart8.xml"/><Relationship Id="rId4" Type="http://schemas.openxmlformats.org/officeDocument/2006/relationships/tags" Target="../tags/tag444.xml"/><Relationship Id="rId9" Type="http://schemas.openxmlformats.org/officeDocument/2006/relationships/tags" Target="../tags/tag449.xml"/><Relationship Id="rId13" Type="http://schemas.openxmlformats.org/officeDocument/2006/relationships/tags" Target="../tags/tag453.xml"/><Relationship Id="rId18" Type="http://schemas.openxmlformats.org/officeDocument/2006/relationships/tags" Target="../tags/tag458.xml"/><Relationship Id="rId39" Type="http://schemas.openxmlformats.org/officeDocument/2006/relationships/tags" Target="../tags/tag479.xml"/><Relationship Id="rId34" Type="http://schemas.openxmlformats.org/officeDocument/2006/relationships/tags" Target="../tags/tag474.xml"/><Relationship Id="rId50" Type="http://schemas.openxmlformats.org/officeDocument/2006/relationships/tags" Target="../tags/tag490.xml"/><Relationship Id="rId55" Type="http://schemas.openxmlformats.org/officeDocument/2006/relationships/tags" Target="../tags/tag495.xml"/><Relationship Id="rId76" Type="http://schemas.openxmlformats.org/officeDocument/2006/relationships/tags" Target="../tags/tag516.xml"/><Relationship Id="rId97" Type="http://schemas.openxmlformats.org/officeDocument/2006/relationships/notesSlide" Target="../notesSlides/notesSlide4.xml"/><Relationship Id="rId7" Type="http://schemas.openxmlformats.org/officeDocument/2006/relationships/tags" Target="../tags/tag447.xml"/><Relationship Id="rId71" Type="http://schemas.openxmlformats.org/officeDocument/2006/relationships/tags" Target="../tags/tag511.xml"/><Relationship Id="rId92" Type="http://schemas.openxmlformats.org/officeDocument/2006/relationships/tags" Target="../tags/tag532.xml"/><Relationship Id="rId2" Type="http://schemas.openxmlformats.org/officeDocument/2006/relationships/tags" Target="../tags/tag442.xml"/><Relationship Id="rId29" Type="http://schemas.openxmlformats.org/officeDocument/2006/relationships/tags" Target="../tags/tag469.xml"/><Relationship Id="rId24" Type="http://schemas.openxmlformats.org/officeDocument/2006/relationships/tags" Target="../tags/tag464.xml"/><Relationship Id="rId40" Type="http://schemas.openxmlformats.org/officeDocument/2006/relationships/tags" Target="../tags/tag480.xml"/><Relationship Id="rId45" Type="http://schemas.openxmlformats.org/officeDocument/2006/relationships/tags" Target="../tags/tag485.xml"/><Relationship Id="rId66" Type="http://schemas.openxmlformats.org/officeDocument/2006/relationships/tags" Target="../tags/tag506.xml"/><Relationship Id="rId87" Type="http://schemas.openxmlformats.org/officeDocument/2006/relationships/tags" Target="../tags/tag527.xml"/><Relationship Id="rId61" Type="http://schemas.openxmlformats.org/officeDocument/2006/relationships/tags" Target="../tags/tag501.xml"/><Relationship Id="rId82" Type="http://schemas.openxmlformats.org/officeDocument/2006/relationships/tags" Target="../tags/tag522.xml"/><Relationship Id="rId19" Type="http://schemas.openxmlformats.org/officeDocument/2006/relationships/tags" Target="../tags/tag459.xml"/><Relationship Id="rId14" Type="http://schemas.openxmlformats.org/officeDocument/2006/relationships/tags" Target="../tags/tag454.xml"/><Relationship Id="rId30" Type="http://schemas.openxmlformats.org/officeDocument/2006/relationships/tags" Target="../tags/tag470.xml"/><Relationship Id="rId35" Type="http://schemas.openxmlformats.org/officeDocument/2006/relationships/tags" Target="../tags/tag475.xml"/><Relationship Id="rId56" Type="http://schemas.openxmlformats.org/officeDocument/2006/relationships/tags" Target="../tags/tag496.xml"/><Relationship Id="rId77" Type="http://schemas.openxmlformats.org/officeDocument/2006/relationships/tags" Target="../tags/tag517.xml"/><Relationship Id="rId100" Type="http://schemas.openxmlformats.org/officeDocument/2006/relationships/chart" Target="../charts/chart7.xml"/><Relationship Id="rId8" Type="http://schemas.openxmlformats.org/officeDocument/2006/relationships/tags" Target="../tags/tag448.xml"/><Relationship Id="rId51" Type="http://schemas.openxmlformats.org/officeDocument/2006/relationships/tags" Target="../tags/tag491.xml"/><Relationship Id="rId72" Type="http://schemas.openxmlformats.org/officeDocument/2006/relationships/tags" Target="../tags/tag512.xml"/><Relationship Id="rId93" Type="http://schemas.openxmlformats.org/officeDocument/2006/relationships/tags" Target="../tags/tag533.xml"/><Relationship Id="rId98" Type="http://schemas.openxmlformats.org/officeDocument/2006/relationships/oleObject" Target="../embeddings/oleObject5.bin"/><Relationship Id="rId3" Type="http://schemas.openxmlformats.org/officeDocument/2006/relationships/tags" Target="../tags/tag44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652.xml"/><Relationship Id="rId21" Type="http://schemas.openxmlformats.org/officeDocument/2006/relationships/tags" Target="../tags/tag556.xml"/><Relationship Id="rId42" Type="http://schemas.openxmlformats.org/officeDocument/2006/relationships/tags" Target="../tags/tag577.xml"/><Relationship Id="rId63" Type="http://schemas.openxmlformats.org/officeDocument/2006/relationships/tags" Target="../tags/tag598.xml"/><Relationship Id="rId84" Type="http://schemas.openxmlformats.org/officeDocument/2006/relationships/tags" Target="../tags/tag619.xml"/><Relationship Id="rId138" Type="http://schemas.openxmlformats.org/officeDocument/2006/relationships/tags" Target="../tags/tag673.xml"/><Relationship Id="rId159" Type="http://schemas.openxmlformats.org/officeDocument/2006/relationships/chart" Target="../charts/chart9.xml"/><Relationship Id="rId107" Type="http://schemas.openxmlformats.org/officeDocument/2006/relationships/tags" Target="../tags/tag642.xml"/><Relationship Id="rId11" Type="http://schemas.openxmlformats.org/officeDocument/2006/relationships/tags" Target="../tags/tag546.xml"/><Relationship Id="rId32" Type="http://schemas.openxmlformats.org/officeDocument/2006/relationships/tags" Target="../tags/tag567.xml"/><Relationship Id="rId53" Type="http://schemas.openxmlformats.org/officeDocument/2006/relationships/tags" Target="../tags/tag588.xml"/><Relationship Id="rId74" Type="http://schemas.openxmlformats.org/officeDocument/2006/relationships/tags" Target="../tags/tag609.xml"/><Relationship Id="rId128" Type="http://schemas.openxmlformats.org/officeDocument/2006/relationships/tags" Target="../tags/tag663.xml"/><Relationship Id="rId149" Type="http://schemas.openxmlformats.org/officeDocument/2006/relationships/tags" Target="../tags/tag684.xml"/><Relationship Id="rId5" Type="http://schemas.openxmlformats.org/officeDocument/2006/relationships/tags" Target="../tags/tag540.xml"/><Relationship Id="rId95" Type="http://schemas.openxmlformats.org/officeDocument/2006/relationships/tags" Target="../tags/tag630.xml"/><Relationship Id="rId160" Type="http://schemas.openxmlformats.org/officeDocument/2006/relationships/chart" Target="../charts/chart10.xml"/><Relationship Id="rId22" Type="http://schemas.openxmlformats.org/officeDocument/2006/relationships/tags" Target="../tags/tag557.xml"/><Relationship Id="rId43" Type="http://schemas.openxmlformats.org/officeDocument/2006/relationships/tags" Target="../tags/tag578.xml"/><Relationship Id="rId64" Type="http://schemas.openxmlformats.org/officeDocument/2006/relationships/tags" Target="../tags/tag599.xml"/><Relationship Id="rId118" Type="http://schemas.openxmlformats.org/officeDocument/2006/relationships/tags" Target="../tags/tag653.xml"/><Relationship Id="rId139" Type="http://schemas.openxmlformats.org/officeDocument/2006/relationships/tags" Target="../tags/tag674.xml"/><Relationship Id="rId80" Type="http://schemas.openxmlformats.org/officeDocument/2006/relationships/tags" Target="../tags/tag615.xml"/><Relationship Id="rId85" Type="http://schemas.openxmlformats.org/officeDocument/2006/relationships/tags" Target="../tags/tag620.xml"/><Relationship Id="rId150" Type="http://schemas.openxmlformats.org/officeDocument/2006/relationships/tags" Target="../tags/tag685.xml"/><Relationship Id="rId155" Type="http://schemas.openxmlformats.org/officeDocument/2006/relationships/slideLayout" Target="../slideLayouts/slideLayout1.xml"/><Relationship Id="rId12" Type="http://schemas.openxmlformats.org/officeDocument/2006/relationships/tags" Target="../tags/tag547.xml"/><Relationship Id="rId17" Type="http://schemas.openxmlformats.org/officeDocument/2006/relationships/tags" Target="../tags/tag552.xml"/><Relationship Id="rId33" Type="http://schemas.openxmlformats.org/officeDocument/2006/relationships/tags" Target="../tags/tag568.xml"/><Relationship Id="rId38" Type="http://schemas.openxmlformats.org/officeDocument/2006/relationships/tags" Target="../tags/tag573.xml"/><Relationship Id="rId59" Type="http://schemas.openxmlformats.org/officeDocument/2006/relationships/tags" Target="../tags/tag594.xml"/><Relationship Id="rId103" Type="http://schemas.openxmlformats.org/officeDocument/2006/relationships/tags" Target="../tags/tag638.xml"/><Relationship Id="rId108" Type="http://schemas.openxmlformats.org/officeDocument/2006/relationships/tags" Target="../tags/tag643.xml"/><Relationship Id="rId124" Type="http://schemas.openxmlformats.org/officeDocument/2006/relationships/tags" Target="../tags/tag659.xml"/><Relationship Id="rId129" Type="http://schemas.openxmlformats.org/officeDocument/2006/relationships/tags" Target="../tags/tag664.xml"/><Relationship Id="rId54" Type="http://schemas.openxmlformats.org/officeDocument/2006/relationships/tags" Target="../tags/tag589.xml"/><Relationship Id="rId70" Type="http://schemas.openxmlformats.org/officeDocument/2006/relationships/tags" Target="../tags/tag605.xml"/><Relationship Id="rId75" Type="http://schemas.openxmlformats.org/officeDocument/2006/relationships/tags" Target="../tags/tag610.xml"/><Relationship Id="rId91" Type="http://schemas.openxmlformats.org/officeDocument/2006/relationships/tags" Target="../tags/tag626.xml"/><Relationship Id="rId96" Type="http://schemas.openxmlformats.org/officeDocument/2006/relationships/tags" Target="../tags/tag631.xml"/><Relationship Id="rId140" Type="http://schemas.openxmlformats.org/officeDocument/2006/relationships/tags" Target="../tags/tag675.xml"/><Relationship Id="rId145" Type="http://schemas.openxmlformats.org/officeDocument/2006/relationships/tags" Target="../tags/tag680.xml"/><Relationship Id="rId1" Type="http://schemas.openxmlformats.org/officeDocument/2006/relationships/tags" Target="../tags/tag536.xml"/><Relationship Id="rId6" Type="http://schemas.openxmlformats.org/officeDocument/2006/relationships/tags" Target="../tags/tag541.xml"/><Relationship Id="rId23" Type="http://schemas.openxmlformats.org/officeDocument/2006/relationships/tags" Target="../tags/tag558.xml"/><Relationship Id="rId28" Type="http://schemas.openxmlformats.org/officeDocument/2006/relationships/tags" Target="../tags/tag563.xml"/><Relationship Id="rId49" Type="http://schemas.openxmlformats.org/officeDocument/2006/relationships/tags" Target="../tags/tag584.xml"/><Relationship Id="rId114" Type="http://schemas.openxmlformats.org/officeDocument/2006/relationships/tags" Target="../tags/tag649.xml"/><Relationship Id="rId119" Type="http://schemas.openxmlformats.org/officeDocument/2006/relationships/tags" Target="../tags/tag654.xml"/><Relationship Id="rId44" Type="http://schemas.openxmlformats.org/officeDocument/2006/relationships/tags" Target="../tags/tag579.xml"/><Relationship Id="rId60" Type="http://schemas.openxmlformats.org/officeDocument/2006/relationships/tags" Target="../tags/tag595.xml"/><Relationship Id="rId65" Type="http://schemas.openxmlformats.org/officeDocument/2006/relationships/tags" Target="../tags/tag600.xml"/><Relationship Id="rId81" Type="http://schemas.openxmlformats.org/officeDocument/2006/relationships/tags" Target="../tags/tag616.xml"/><Relationship Id="rId86" Type="http://schemas.openxmlformats.org/officeDocument/2006/relationships/tags" Target="../tags/tag621.xml"/><Relationship Id="rId130" Type="http://schemas.openxmlformats.org/officeDocument/2006/relationships/tags" Target="../tags/tag665.xml"/><Relationship Id="rId135" Type="http://schemas.openxmlformats.org/officeDocument/2006/relationships/tags" Target="../tags/tag670.xml"/><Relationship Id="rId151" Type="http://schemas.openxmlformats.org/officeDocument/2006/relationships/tags" Target="../tags/tag686.xml"/><Relationship Id="rId156" Type="http://schemas.openxmlformats.org/officeDocument/2006/relationships/notesSlide" Target="../notesSlides/notesSlide5.xml"/><Relationship Id="rId13" Type="http://schemas.openxmlformats.org/officeDocument/2006/relationships/tags" Target="../tags/tag548.xml"/><Relationship Id="rId18" Type="http://schemas.openxmlformats.org/officeDocument/2006/relationships/tags" Target="../tags/tag553.xml"/><Relationship Id="rId39" Type="http://schemas.openxmlformats.org/officeDocument/2006/relationships/tags" Target="../tags/tag574.xml"/><Relationship Id="rId109" Type="http://schemas.openxmlformats.org/officeDocument/2006/relationships/tags" Target="../tags/tag644.xml"/><Relationship Id="rId34" Type="http://schemas.openxmlformats.org/officeDocument/2006/relationships/tags" Target="../tags/tag569.xml"/><Relationship Id="rId50" Type="http://schemas.openxmlformats.org/officeDocument/2006/relationships/tags" Target="../tags/tag585.xml"/><Relationship Id="rId55" Type="http://schemas.openxmlformats.org/officeDocument/2006/relationships/tags" Target="../tags/tag590.xml"/><Relationship Id="rId76" Type="http://schemas.openxmlformats.org/officeDocument/2006/relationships/tags" Target="../tags/tag611.xml"/><Relationship Id="rId97" Type="http://schemas.openxmlformats.org/officeDocument/2006/relationships/tags" Target="../tags/tag632.xml"/><Relationship Id="rId104" Type="http://schemas.openxmlformats.org/officeDocument/2006/relationships/tags" Target="../tags/tag639.xml"/><Relationship Id="rId120" Type="http://schemas.openxmlformats.org/officeDocument/2006/relationships/tags" Target="../tags/tag655.xml"/><Relationship Id="rId125" Type="http://schemas.openxmlformats.org/officeDocument/2006/relationships/tags" Target="../tags/tag660.xml"/><Relationship Id="rId141" Type="http://schemas.openxmlformats.org/officeDocument/2006/relationships/tags" Target="../tags/tag676.xml"/><Relationship Id="rId146" Type="http://schemas.openxmlformats.org/officeDocument/2006/relationships/tags" Target="../tags/tag681.xml"/><Relationship Id="rId7" Type="http://schemas.openxmlformats.org/officeDocument/2006/relationships/tags" Target="../tags/tag542.xml"/><Relationship Id="rId71" Type="http://schemas.openxmlformats.org/officeDocument/2006/relationships/tags" Target="../tags/tag606.xml"/><Relationship Id="rId92" Type="http://schemas.openxmlformats.org/officeDocument/2006/relationships/tags" Target="../tags/tag627.xml"/><Relationship Id="rId2" Type="http://schemas.openxmlformats.org/officeDocument/2006/relationships/tags" Target="../tags/tag537.xml"/><Relationship Id="rId29" Type="http://schemas.openxmlformats.org/officeDocument/2006/relationships/tags" Target="../tags/tag564.xml"/><Relationship Id="rId24" Type="http://schemas.openxmlformats.org/officeDocument/2006/relationships/tags" Target="../tags/tag559.xml"/><Relationship Id="rId40" Type="http://schemas.openxmlformats.org/officeDocument/2006/relationships/tags" Target="../tags/tag575.xml"/><Relationship Id="rId45" Type="http://schemas.openxmlformats.org/officeDocument/2006/relationships/tags" Target="../tags/tag580.xml"/><Relationship Id="rId66" Type="http://schemas.openxmlformats.org/officeDocument/2006/relationships/tags" Target="../tags/tag601.xml"/><Relationship Id="rId87" Type="http://schemas.openxmlformats.org/officeDocument/2006/relationships/tags" Target="../tags/tag622.xml"/><Relationship Id="rId110" Type="http://schemas.openxmlformats.org/officeDocument/2006/relationships/tags" Target="../tags/tag645.xml"/><Relationship Id="rId115" Type="http://schemas.openxmlformats.org/officeDocument/2006/relationships/tags" Target="../tags/tag650.xml"/><Relationship Id="rId131" Type="http://schemas.openxmlformats.org/officeDocument/2006/relationships/tags" Target="../tags/tag666.xml"/><Relationship Id="rId136" Type="http://schemas.openxmlformats.org/officeDocument/2006/relationships/tags" Target="../tags/tag671.xml"/><Relationship Id="rId157" Type="http://schemas.openxmlformats.org/officeDocument/2006/relationships/oleObject" Target="../embeddings/oleObject6.bin"/><Relationship Id="rId61" Type="http://schemas.openxmlformats.org/officeDocument/2006/relationships/tags" Target="../tags/tag596.xml"/><Relationship Id="rId82" Type="http://schemas.openxmlformats.org/officeDocument/2006/relationships/tags" Target="../tags/tag617.xml"/><Relationship Id="rId152" Type="http://schemas.openxmlformats.org/officeDocument/2006/relationships/tags" Target="../tags/tag687.xml"/><Relationship Id="rId19" Type="http://schemas.openxmlformats.org/officeDocument/2006/relationships/tags" Target="../tags/tag554.xml"/><Relationship Id="rId14" Type="http://schemas.openxmlformats.org/officeDocument/2006/relationships/tags" Target="../tags/tag549.xml"/><Relationship Id="rId30" Type="http://schemas.openxmlformats.org/officeDocument/2006/relationships/tags" Target="../tags/tag565.xml"/><Relationship Id="rId35" Type="http://schemas.openxmlformats.org/officeDocument/2006/relationships/tags" Target="../tags/tag570.xml"/><Relationship Id="rId56" Type="http://schemas.openxmlformats.org/officeDocument/2006/relationships/tags" Target="../tags/tag591.xml"/><Relationship Id="rId77" Type="http://schemas.openxmlformats.org/officeDocument/2006/relationships/tags" Target="../tags/tag612.xml"/><Relationship Id="rId100" Type="http://schemas.openxmlformats.org/officeDocument/2006/relationships/tags" Target="../tags/tag635.xml"/><Relationship Id="rId105" Type="http://schemas.openxmlformats.org/officeDocument/2006/relationships/tags" Target="../tags/tag640.xml"/><Relationship Id="rId126" Type="http://schemas.openxmlformats.org/officeDocument/2006/relationships/tags" Target="../tags/tag661.xml"/><Relationship Id="rId147" Type="http://schemas.openxmlformats.org/officeDocument/2006/relationships/tags" Target="../tags/tag682.xml"/><Relationship Id="rId8" Type="http://schemas.openxmlformats.org/officeDocument/2006/relationships/tags" Target="../tags/tag543.xml"/><Relationship Id="rId51" Type="http://schemas.openxmlformats.org/officeDocument/2006/relationships/tags" Target="../tags/tag586.xml"/><Relationship Id="rId72" Type="http://schemas.openxmlformats.org/officeDocument/2006/relationships/tags" Target="../tags/tag607.xml"/><Relationship Id="rId93" Type="http://schemas.openxmlformats.org/officeDocument/2006/relationships/tags" Target="../tags/tag628.xml"/><Relationship Id="rId98" Type="http://schemas.openxmlformats.org/officeDocument/2006/relationships/tags" Target="../tags/tag633.xml"/><Relationship Id="rId121" Type="http://schemas.openxmlformats.org/officeDocument/2006/relationships/tags" Target="../tags/tag656.xml"/><Relationship Id="rId142" Type="http://schemas.openxmlformats.org/officeDocument/2006/relationships/tags" Target="../tags/tag677.xml"/><Relationship Id="rId3" Type="http://schemas.openxmlformats.org/officeDocument/2006/relationships/tags" Target="../tags/tag538.xml"/><Relationship Id="rId25" Type="http://schemas.openxmlformats.org/officeDocument/2006/relationships/tags" Target="../tags/tag560.xml"/><Relationship Id="rId46" Type="http://schemas.openxmlformats.org/officeDocument/2006/relationships/tags" Target="../tags/tag581.xml"/><Relationship Id="rId67" Type="http://schemas.openxmlformats.org/officeDocument/2006/relationships/tags" Target="../tags/tag602.xml"/><Relationship Id="rId116" Type="http://schemas.openxmlformats.org/officeDocument/2006/relationships/tags" Target="../tags/tag651.xml"/><Relationship Id="rId137" Type="http://schemas.openxmlformats.org/officeDocument/2006/relationships/tags" Target="../tags/tag672.xml"/><Relationship Id="rId158" Type="http://schemas.openxmlformats.org/officeDocument/2006/relationships/image" Target="../media/image2.emf"/><Relationship Id="rId20" Type="http://schemas.openxmlformats.org/officeDocument/2006/relationships/tags" Target="../tags/tag555.xml"/><Relationship Id="rId41" Type="http://schemas.openxmlformats.org/officeDocument/2006/relationships/tags" Target="../tags/tag576.xml"/><Relationship Id="rId62" Type="http://schemas.openxmlformats.org/officeDocument/2006/relationships/tags" Target="../tags/tag597.xml"/><Relationship Id="rId83" Type="http://schemas.openxmlformats.org/officeDocument/2006/relationships/tags" Target="../tags/tag618.xml"/><Relationship Id="rId88" Type="http://schemas.openxmlformats.org/officeDocument/2006/relationships/tags" Target="../tags/tag623.xml"/><Relationship Id="rId111" Type="http://schemas.openxmlformats.org/officeDocument/2006/relationships/tags" Target="../tags/tag646.xml"/><Relationship Id="rId132" Type="http://schemas.openxmlformats.org/officeDocument/2006/relationships/tags" Target="../tags/tag667.xml"/><Relationship Id="rId153" Type="http://schemas.openxmlformats.org/officeDocument/2006/relationships/tags" Target="../tags/tag688.xml"/><Relationship Id="rId15" Type="http://schemas.openxmlformats.org/officeDocument/2006/relationships/tags" Target="../tags/tag550.xml"/><Relationship Id="rId36" Type="http://schemas.openxmlformats.org/officeDocument/2006/relationships/tags" Target="../tags/tag571.xml"/><Relationship Id="rId57" Type="http://schemas.openxmlformats.org/officeDocument/2006/relationships/tags" Target="../tags/tag592.xml"/><Relationship Id="rId106" Type="http://schemas.openxmlformats.org/officeDocument/2006/relationships/tags" Target="../tags/tag641.xml"/><Relationship Id="rId127" Type="http://schemas.openxmlformats.org/officeDocument/2006/relationships/tags" Target="../tags/tag662.xml"/><Relationship Id="rId10" Type="http://schemas.openxmlformats.org/officeDocument/2006/relationships/tags" Target="../tags/tag545.xml"/><Relationship Id="rId31" Type="http://schemas.openxmlformats.org/officeDocument/2006/relationships/tags" Target="../tags/tag566.xml"/><Relationship Id="rId52" Type="http://schemas.openxmlformats.org/officeDocument/2006/relationships/tags" Target="../tags/tag587.xml"/><Relationship Id="rId73" Type="http://schemas.openxmlformats.org/officeDocument/2006/relationships/tags" Target="../tags/tag608.xml"/><Relationship Id="rId78" Type="http://schemas.openxmlformats.org/officeDocument/2006/relationships/tags" Target="../tags/tag613.xml"/><Relationship Id="rId94" Type="http://schemas.openxmlformats.org/officeDocument/2006/relationships/tags" Target="../tags/tag629.xml"/><Relationship Id="rId99" Type="http://schemas.openxmlformats.org/officeDocument/2006/relationships/tags" Target="../tags/tag634.xml"/><Relationship Id="rId101" Type="http://schemas.openxmlformats.org/officeDocument/2006/relationships/tags" Target="../tags/tag636.xml"/><Relationship Id="rId122" Type="http://schemas.openxmlformats.org/officeDocument/2006/relationships/tags" Target="../tags/tag657.xml"/><Relationship Id="rId143" Type="http://schemas.openxmlformats.org/officeDocument/2006/relationships/tags" Target="../tags/tag678.xml"/><Relationship Id="rId148" Type="http://schemas.openxmlformats.org/officeDocument/2006/relationships/tags" Target="../tags/tag683.xml"/><Relationship Id="rId4" Type="http://schemas.openxmlformats.org/officeDocument/2006/relationships/tags" Target="../tags/tag539.xml"/><Relationship Id="rId9" Type="http://schemas.openxmlformats.org/officeDocument/2006/relationships/tags" Target="../tags/tag544.xml"/><Relationship Id="rId26" Type="http://schemas.openxmlformats.org/officeDocument/2006/relationships/tags" Target="../tags/tag561.xml"/><Relationship Id="rId47" Type="http://schemas.openxmlformats.org/officeDocument/2006/relationships/tags" Target="../tags/tag582.xml"/><Relationship Id="rId68" Type="http://schemas.openxmlformats.org/officeDocument/2006/relationships/tags" Target="../tags/tag603.xml"/><Relationship Id="rId89" Type="http://schemas.openxmlformats.org/officeDocument/2006/relationships/tags" Target="../tags/tag624.xml"/><Relationship Id="rId112" Type="http://schemas.openxmlformats.org/officeDocument/2006/relationships/tags" Target="../tags/tag647.xml"/><Relationship Id="rId133" Type="http://schemas.openxmlformats.org/officeDocument/2006/relationships/tags" Target="../tags/tag668.xml"/><Relationship Id="rId154" Type="http://schemas.openxmlformats.org/officeDocument/2006/relationships/tags" Target="../tags/tag689.xml"/><Relationship Id="rId16" Type="http://schemas.openxmlformats.org/officeDocument/2006/relationships/tags" Target="../tags/tag551.xml"/><Relationship Id="rId37" Type="http://schemas.openxmlformats.org/officeDocument/2006/relationships/tags" Target="../tags/tag572.xml"/><Relationship Id="rId58" Type="http://schemas.openxmlformats.org/officeDocument/2006/relationships/tags" Target="../tags/tag593.xml"/><Relationship Id="rId79" Type="http://schemas.openxmlformats.org/officeDocument/2006/relationships/tags" Target="../tags/tag614.xml"/><Relationship Id="rId102" Type="http://schemas.openxmlformats.org/officeDocument/2006/relationships/tags" Target="../tags/tag637.xml"/><Relationship Id="rId123" Type="http://schemas.openxmlformats.org/officeDocument/2006/relationships/tags" Target="../tags/tag658.xml"/><Relationship Id="rId144" Type="http://schemas.openxmlformats.org/officeDocument/2006/relationships/tags" Target="../tags/tag679.xml"/><Relationship Id="rId90" Type="http://schemas.openxmlformats.org/officeDocument/2006/relationships/tags" Target="../tags/tag625.xml"/><Relationship Id="rId27" Type="http://schemas.openxmlformats.org/officeDocument/2006/relationships/tags" Target="../tags/tag562.xml"/><Relationship Id="rId48" Type="http://schemas.openxmlformats.org/officeDocument/2006/relationships/tags" Target="../tags/tag583.xml"/><Relationship Id="rId69" Type="http://schemas.openxmlformats.org/officeDocument/2006/relationships/tags" Target="../tags/tag604.xml"/><Relationship Id="rId113" Type="http://schemas.openxmlformats.org/officeDocument/2006/relationships/tags" Target="../tags/tag648.xml"/><Relationship Id="rId134" Type="http://schemas.openxmlformats.org/officeDocument/2006/relationships/tags" Target="../tags/tag669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715.xml"/><Relationship Id="rId21" Type="http://schemas.openxmlformats.org/officeDocument/2006/relationships/tags" Target="../tags/tag710.xml"/><Relationship Id="rId42" Type="http://schemas.openxmlformats.org/officeDocument/2006/relationships/tags" Target="../tags/tag731.xml"/><Relationship Id="rId47" Type="http://schemas.openxmlformats.org/officeDocument/2006/relationships/tags" Target="../tags/tag736.xml"/><Relationship Id="rId63" Type="http://schemas.openxmlformats.org/officeDocument/2006/relationships/tags" Target="../tags/tag752.xml"/><Relationship Id="rId68" Type="http://schemas.openxmlformats.org/officeDocument/2006/relationships/tags" Target="../tags/tag757.xml"/><Relationship Id="rId84" Type="http://schemas.openxmlformats.org/officeDocument/2006/relationships/tags" Target="../tags/tag773.xml"/><Relationship Id="rId89" Type="http://schemas.openxmlformats.org/officeDocument/2006/relationships/tags" Target="../tags/tag778.xml"/><Relationship Id="rId16" Type="http://schemas.openxmlformats.org/officeDocument/2006/relationships/tags" Target="../tags/tag705.xml"/><Relationship Id="rId107" Type="http://schemas.openxmlformats.org/officeDocument/2006/relationships/notesSlide" Target="../notesSlides/notesSlide6.xml"/><Relationship Id="rId11" Type="http://schemas.openxmlformats.org/officeDocument/2006/relationships/tags" Target="../tags/tag700.xml"/><Relationship Id="rId32" Type="http://schemas.openxmlformats.org/officeDocument/2006/relationships/tags" Target="../tags/tag721.xml"/><Relationship Id="rId37" Type="http://schemas.openxmlformats.org/officeDocument/2006/relationships/tags" Target="../tags/tag726.xml"/><Relationship Id="rId53" Type="http://schemas.openxmlformats.org/officeDocument/2006/relationships/tags" Target="../tags/tag742.xml"/><Relationship Id="rId58" Type="http://schemas.openxmlformats.org/officeDocument/2006/relationships/tags" Target="../tags/tag747.xml"/><Relationship Id="rId74" Type="http://schemas.openxmlformats.org/officeDocument/2006/relationships/tags" Target="../tags/tag763.xml"/><Relationship Id="rId79" Type="http://schemas.openxmlformats.org/officeDocument/2006/relationships/tags" Target="../tags/tag768.xml"/><Relationship Id="rId102" Type="http://schemas.openxmlformats.org/officeDocument/2006/relationships/tags" Target="../tags/tag791.xml"/><Relationship Id="rId5" Type="http://schemas.openxmlformats.org/officeDocument/2006/relationships/tags" Target="../tags/tag694.xml"/><Relationship Id="rId90" Type="http://schemas.openxmlformats.org/officeDocument/2006/relationships/tags" Target="../tags/tag779.xml"/><Relationship Id="rId95" Type="http://schemas.openxmlformats.org/officeDocument/2006/relationships/tags" Target="../tags/tag784.xml"/><Relationship Id="rId22" Type="http://schemas.openxmlformats.org/officeDocument/2006/relationships/tags" Target="../tags/tag711.xml"/><Relationship Id="rId27" Type="http://schemas.openxmlformats.org/officeDocument/2006/relationships/tags" Target="../tags/tag716.xml"/><Relationship Id="rId43" Type="http://schemas.openxmlformats.org/officeDocument/2006/relationships/tags" Target="../tags/tag732.xml"/><Relationship Id="rId48" Type="http://schemas.openxmlformats.org/officeDocument/2006/relationships/tags" Target="../tags/tag737.xml"/><Relationship Id="rId64" Type="http://schemas.openxmlformats.org/officeDocument/2006/relationships/tags" Target="../tags/tag753.xml"/><Relationship Id="rId69" Type="http://schemas.openxmlformats.org/officeDocument/2006/relationships/tags" Target="../tags/tag758.xml"/><Relationship Id="rId80" Type="http://schemas.openxmlformats.org/officeDocument/2006/relationships/tags" Target="../tags/tag769.xml"/><Relationship Id="rId85" Type="http://schemas.openxmlformats.org/officeDocument/2006/relationships/tags" Target="../tags/tag774.xml"/><Relationship Id="rId12" Type="http://schemas.openxmlformats.org/officeDocument/2006/relationships/tags" Target="../tags/tag701.xml"/><Relationship Id="rId17" Type="http://schemas.openxmlformats.org/officeDocument/2006/relationships/tags" Target="../tags/tag706.xml"/><Relationship Id="rId33" Type="http://schemas.openxmlformats.org/officeDocument/2006/relationships/tags" Target="../tags/tag722.xml"/><Relationship Id="rId38" Type="http://schemas.openxmlformats.org/officeDocument/2006/relationships/tags" Target="../tags/tag727.xml"/><Relationship Id="rId59" Type="http://schemas.openxmlformats.org/officeDocument/2006/relationships/tags" Target="../tags/tag748.xml"/><Relationship Id="rId103" Type="http://schemas.openxmlformats.org/officeDocument/2006/relationships/tags" Target="../tags/tag792.xml"/><Relationship Id="rId108" Type="http://schemas.openxmlformats.org/officeDocument/2006/relationships/oleObject" Target="../embeddings/oleObject7.bin"/><Relationship Id="rId54" Type="http://schemas.openxmlformats.org/officeDocument/2006/relationships/tags" Target="../tags/tag743.xml"/><Relationship Id="rId70" Type="http://schemas.openxmlformats.org/officeDocument/2006/relationships/tags" Target="../tags/tag759.xml"/><Relationship Id="rId75" Type="http://schemas.openxmlformats.org/officeDocument/2006/relationships/tags" Target="../tags/tag764.xml"/><Relationship Id="rId91" Type="http://schemas.openxmlformats.org/officeDocument/2006/relationships/tags" Target="../tags/tag780.xml"/><Relationship Id="rId96" Type="http://schemas.openxmlformats.org/officeDocument/2006/relationships/tags" Target="../tags/tag785.xml"/><Relationship Id="rId1" Type="http://schemas.openxmlformats.org/officeDocument/2006/relationships/tags" Target="../tags/tag690.xml"/><Relationship Id="rId6" Type="http://schemas.openxmlformats.org/officeDocument/2006/relationships/tags" Target="../tags/tag695.xml"/><Relationship Id="rId15" Type="http://schemas.openxmlformats.org/officeDocument/2006/relationships/tags" Target="../tags/tag704.xml"/><Relationship Id="rId23" Type="http://schemas.openxmlformats.org/officeDocument/2006/relationships/tags" Target="../tags/tag712.xml"/><Relationship Id="rId28" Type="http://schemas.openxmlformats.org/officeDocument/2006/relationships/tags" Target="../tags/tag717.xml"/><Relationship Id="rId36" Type="http://schemas.openxmlformats.org/officeDocument/2006/relationships/tags" Target="../tags/tag725.xml"/><Relationship Id="rId49" Type="http://schemas.openxmlformats.org/officeDocument/2006/relationships/tags" Target="../tags/tag738.xml"/><Relationship Id="rId57" Type="http://schemas.openxmlformats.org/officeDocument/2006/relationships/tags" Target="../tags/tag746.xml"/><Relationship Id="rId106" Type="http://schemas.openxmlformats.org/officeDocument/2006/relationships/slideLayout" Target="../slideLayouts/slideLayout1.xml"/><Relationship Id="rId10" Type="http://schemas.openxmlformats.org/officeDocument/2006/relationships/tags" Target="../tags/tag699.xml"/><Relationship Id="rId31" Type="http://schemas.openxmlformats.org/officeDocument/2006/relationships/tags" Target="../tags/tag720.xml"/><Relationship Id="rId44" Type="http://schemas.openxmlformats.org/officeDocument/2006/relationships/tags" Target="../tags/tag733.xml"/><Relationship Id="rId52" Type="http://schemas.openxmlformats.org/officeDocument/2006/relationships/tags" Target="../tags/tag741.xml"/><Relationship Id="rId60" Type="http://schemas.openxmlformats.org/officeDocument/2006/relationships/tags" Target="../tags/tag749.xml"/><Relationship Id="rId65" Type="http://schemas.openxmlformats.org/officeDocument/2006/relationships/tags" Target="../tags/tag754.xml"/><Relationship Id="rId73" Type="http://schemas.openxmlformats.org/officeDocument/2006/relationships/tags" Target="../tags/tag762.xml"/><Relationship Id="rId78" Type="http://schemas.openxmlformats.org/officeDocument/2006/relationships/tags" Target="../tags/tag767.xml"/><Relationship Id="rId81" Type="http://schemas.openxmlformats.org/officeDocument/2006/relationships/tags" Target="../tags/tag770.xml"/><Relationship Id="rId86" Type="http://schemas.openxmlformats.org/officeDocument/2006/relationships/tags" Target="../tags/tag775.xml"/><Relationship Id="rId94" Type="http://schemas.openxmlformats.org/officeDocument/2006/relationships/tags" Target="../tags/tag783.xml"/><Relationship Id="rId99" Type="http://schemas.openxmlformats.org/officeDocument/2006/relationships/tags" Target="../tags/tag788.xml"/><Relationship Id="rId101" Type="http://schemas.openxmlformats.org/officeDocument/2006/relationships/tags" Target="../tags/tag790.xml"/><Relationship Id="rId4" Type="http://schemas.openxmlformats.org/officeDocument/2006/relationships/tags" Target="../tags/tag693.xml"/><Relationship Id="rId9" Type="http://schemas.openxmlformats.org/officeDocument/2006/relationships/tags" Target="../tags/tag698.xml"/><Relationship Id="rId13" Type="http://schemas.openxmlformats.org/officeDocument/2006/relationships/tags" Target="../tags/tag702.xml"/><Relationship Id="rId18" Type="http://schemas.openxmlformats.org/officeDocument/2006/relationships/tags" Target="../tags/tag707.xml"/><Relationship Id="rId39" Type="http://schemas.openxmlformats.org/officeDocument/2006/relationships/tags" Target="../tags/tag728.xml"/><Relationship Id="rId109" Type="http://schemas.openxmlformats.org/officeDocument/2006/relationships/image" Target="../media/image2.emf"/><Relationship Id="rId34" Type="http://schemas.openxmlformats.org/officeDocument/2006/relationships/tags" Target="../tags/tag723.xml"/><Relationship Id="rId50" Type="http://schemas.openxmlformats.org/officeDocument/2006/relationships/tags" Target="../tags/tag739.xml"/><Relationship Id="rId55" Type="http://schemas.openxmlformats.org/officeDocument/2006/relationships/tags" Target="../tags/tag744.xml"/><Relationship Id="rId76" Type="http://schemas.openxmlformats.org/officeDocument/2006/relationships/tags" Target="../tags/tag765.xml"/><Relationship Id="rId97" Type="http://schemas.openxmlformats.org/officeDocument/2006/relationships/tags" Target="../tags/tag786.xml"/><Relationship Id="rId104" Type="http://schemas.openxmlformats.org/officeDocument/2006/relationships/tags" Target="../tags/tag793.xml"/><Relationship Id="rId7" Type="http://schemas.openxmlformats.org/officeDocument/2006/relationships/tags" Target="../tags/tag696.xml"/><Relationship Id="rId71" Type="http://schemas.openxmlformats.org/officeDocument/2006/relationships/tags" Target="../tags/tag760.xml"/><Relationship Id="rId92" Type="http://schemas.openxmlformats.org/officeDocument/2006/relationships/tags" Target="../tags/tag781.xml"/><Relationship Id="rId2" Type="http://schemas.openxmlformats.org/officeDocument/2006/relationships/tags" Target="../tags/tag691.xml"/><Relationship Id="rId29" Type="http://schemas.openxmlformats.org/officeDocument/2006/relationships/tags" Target="../tags/tag718.xml"/><Relationship Id="rId24" Type="http://schemas.openxmlformats.org/officeDocument/2006/relationships/tags" Target="../tags/tag713.xml"/><Relationship Id="rId40" Type="http://schemas.openxmlformats.org/officeDocument/2006/relationships/tags" Target="../tags/tag729.xml"/><Relationship Id="rId45" Type="http://schemas.openxmlformats.org/officeDocument/2006/relationships/tags" Target="../tags/tag734.xml"/><Relationship Id="rId66" Type="http://schemas.openxmlformats.org/officeDocument/2006/relationships/tags" Target="../tags/tag755.xml"/><Relationship Id="rId87" Type="http://schemas.openxmlformats.org/officeDocument/2006/relationships/tags" Target="../tags/tag776.xml"/><Relationship Id="rId110" Type="http://schemas.openxmlformats.org/officeDocument/2006/relationships/chart" Target="../charts/chart11.xml"/><Relationship Id="rId61" Type="http://schemas.openxmlformats.org/officeDocument/2006/relationships/tags" Target="../tags/tag750.xml"/><Relationship Id="rId82" Type="http://schemas.openxmlformats.org/officeDocument/2006/relationships/tags" Target="../tags/tag771.xml"/><Relationship Id="rId19" Type="http://schemas.openxmlformats.org/officeDocument/2006/relationships/tags" Target="../tags/tag708.xml"/><Relationship Id="rId14" Type="http://schemas.openxmlformats.org/officeDocument/2006/relationships/tags" Target="../tags/tag703.xml"/><Relationship Id="rId30" Type="http://schemas.openxmlformats.org/officeDocument/2006/relationships/tags" Target="../tags/tag719.xml"/><Relationship Id="rId35" Type="http://schemas.openxmlformats.org/officeDocument/2006/relationships/tags" Target="../tags/tag724.xml"/><Relationship Id="rId56" Type="http://schemas.openxmlformats.org/officeDocument/2006/relationships/tags" Target="../tags/tag745.xml"/><Relationship Id="rId77" Type="http://schemas.openxmlformats.org/officeDocument/2006/relationships/tags" Target="../tags/tag766.xml"/><Relationship Id="rId100" Type="http://schemas.openxmlformats.org/officeDocument/2006/relationships/tags" Target="../tags/tag789.xml"/><Relationship Id="rId105" Type="http://schemas.openxmlformats.org/officeDocument/2006/relationships/tags" Target="../tags/tag794.xml"/><Relationship Id="rId8" Type="http://schemas.openxmlformats.org/officeDocument/2006/relationships/tags" Target="../tags/tag697.xml"/><Relationship Id="rId51" Type="http://schemas.openxmlformats.org/officeDocument/2006/relationships/tags" Target="../tags/tag740.xml"/><Relationship Id="rId72" Type="http://schemas.openxmlformats.org/officeDocument/2006/relationships/tags" Target="../tags/tag761.xml"/><Relationship Id="rId93" Type="http://schemas.openxmlformats.org/officeDocument/2006/relationships/tags" Target="../tags/tag782.xml"/><Relationship Id="rId98" Type="http://schemas.openxmlformats.org/officeDocument/2006/relationships/tags" Target="../tags/tag787.xml"/><Relationship Id="rId3" Type="http://schemas.openxmlformats.org/officeDocument/2006/relationships/tags" Target="../tags/tag692.xml"/><Relationship Id="rId25" Type="http://schemas.openxmlformats.org/officeDocument/2006/relationships/tags" Target="../tags/tag714.xml"/><Relationship Id="rId46" Type="http://schemas.openxmlformats.org/officeDocument/2006/relationships/tags" Target="../tags/tag735.xml"/><Relationship Id="rId67" Type="http://schemas.openxmlformats.org/officeDocument/2006/relationships/tags" Target="../tags/tag756.xml"/><Relationship Id="rId20" Type="http://schemas.openxmlformats.org/officeDocument/2006/relationships/tags" Target="../tags/tag709.xml"/><Relationship Id="rId41" Type="http://schemas.openxmlformats.org/officeDocument/2006/relationships/tags" Target="../tags/tag730.xml"/><Relationship Id="rId62" Type="http://schemas.openxmlformats.org/officeDocument/2006/relationships/tags" Target="../tags/tag751.xml"/><Relationship Id="rId83" Type="http://schemas.openxmlformats.org/officeDocument/2006/relationships/tags" Target="../tags/tag772.xml"/><Relationship Id="rId88" Type="http://schemas.openxmlformats.org/officeDocument/2006/relationships/tags" Target="../tags/tag777.xml"/><Relationship Id="rId111" Type="http://schemas.openxmlformats.org/officeDocument/2006/relationships/chart" Target="../charts/chart12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911.xml"/><Relationship Id="rId21" Type="http://schemas.openxmlformats.org/officeDocument/2006/relationships/tags" Target="../tags/tag815.xml"/><Relationship Id="rId42" Type="http://schemas.openxmlformats.org/officeDocument/2006/relationships/tags" Target="../tags/tag836.xml"/><Relationship Id="rId63" Type="http://schemas.openxmlformats.org/officeDocument/2006/relationships/tags" Target="../tags/tag857.xml"/><Relationship Id="rId84" Type="http://schemas.openxmlformats.org/officeDocument/2006/relationships/tags" Target="../tags/tag878.xml"/><Relationship Id="rId138" Type="http://schemas.openxmlformats.org/officeDocument/2006/relationships/tags" Target="../tags/tag932.xml"/><Relationship Id="rId159" Type="http://schemas.openxmlformats.org/officeDocument/2006/relationships/tags" Target="../tags/tag953.xml"/><Relationship Id="rId170" Type="http://schemas.openxmlformats.org/officeDocument/2006/relationships/tags" Target="../tags/tag964.xml"/><Relationship Id="rId191" Type="http://schemas.openxmlformats.org/officeDocument/2006/relationships/chart" Target="../charts/chart14.xml"/><Relationship Id="rId107" Type="http://schemas.openxmlformats.org/officeDocument/2006/relationships/tags" Target="../tags/tag901.xml"/><Relationship Id="rId11" Type="http://schemas.openxmlformats.org/officeDocument/2006/relationships/tags" Target="../tags/tag805.xml"/><Relationship Id="rId32" Type="http://schemas.openxmlformats.org/officeDocument/2006/relationships/tags" Target="../tags/tag826.xml"/><Relationship Id="rId53" Type="http://schemas.openxmlformats.org/officeDocument/2006/relationships/tags" Target="../tags/tag847.xml"/><Relationship Id="rId74" Type="http://schemas.openxmlformats.org/officeDocument/2006/relationships/tags" Target="../tags/tag868.xml"/><Relationship Id="rId128" Type="http://schemas.openxmlformats.org/officeDocument/2006/relationships/tags" Target="../tags/tag922.xml"/><Relationship Id="rId149" Type="http://schemas.openxmlformats.org/officeDocument/2006/relationships/tags" Target="../tags/tag943.xml"/><Relationship Id="rId5" Type="http://schemas.openxmlformats.org/officeDocument/2006/relationships/tags" Target="../tags/tag799.xml"/><Relationship Id="rId95" Type="http://schemas.openxmlformats.org/officeDocument/2006/relationships/tags" Target="../tags/tag889.xml"/><Relationship Id="rId160" Type="http://schemas.openxmlformats.org/officeDocument/2006/relationships/tags" Target="../tags/tag954.xml"/><Relationship Id="rId181" Type="http://schemas.openxmlformats.org/officeDocument/2006/relationships/tags" Target="../tags/tag975.xml"/><Relationship Id="rId22" Type="http://schemas.openxmlformats.org/officeDocument/2006/relationships/tags" Target="../tags/tag816.xml"/><Relationship Id="rId43" Type="http://schemas.openxmlformats.org/officeDocument/2006/relationships/tags" Target="../tags/tag837.xml"/><Relationship Id="rId64" Type="http://schemas.openxmlformats.org/officeDocument/2006/relationships/tags" Target="../tags/tag858.xml"/><Relationship Id="rId118" Type="http://schemas.openxmlformats.org/officeDocument/2006/relationships/tags" Target="../tags/tag912.xml"/><Relationship Id="rId139" Type="http://schemas.openxmlformats.org/officeDocument/2006/relationships/tags" Target="../tags/tag933.xml"/><Relationship Id="rId85" Type="http://schemas.openxmlformats.org/officeDocument/2006/relationships/tags" Target="../tags/tag879.xml"/><Relationship Id="rId150" Type="http://schemas.openxmlformats.org/officeDocument/2006/relationships/tags" Target="../tags/tag944.xml"/><Relationship Id="rId171" Type="http://schemas.openxmlformats.org/officeDocument/2006/relationships/tags" Target="../tags/tag965.xml"/><Relationship Id="rId12" Type="http://schemas.openxmlformats.org/officeDocument/2006/relationships/tags" Target="../tags/tag806.xml"/><Relationship Id="rId33" Type="http://schemas.openxmlformats.org/officeDocument/2006/relationships/tags" Target="../tags/tag827.xml"/><Relationship Id="rId108" Type="http://schemas.openxmlformats.org/officeDocument/2006/relationships/tags" Target="../tags/tag902.xml"/><Relationship Id="rId129" Type="http://schemas.openxmlformats.org/officeDocument/2006/relationships/tags" Target="../tags/tag923.xml"/><Relationship Id="rId54" Type="http://schemas.openxmlformats.org/officeDocument/2006/relationships/tags" Target="../tags/tag848.xml"/><Relationship Id="rId75" Type="http://schemas.openxmlformats.org/officeDocument/2006/relationships/tags" Target="../tags/tag869.xml"/><Relationship Id="rId96" Type="http://schemas.openxmlformats.org/officeDocument/2006/relationships/tags" Target="../tags/tag890.xml"/><Relationship Id="rId140" Type="http://schemas.openxmlformats.org/officeDocument/2006/relationships/tags" Target="../tags/tag934.xml"/><Relationship Id="rId161" Type="http://schemas.openxmlformats.org/officeDocument/2006/relationships/tags" Target="../tags/tag955.xml"/><Relationship Id="rId182" Type="http://schemas.openxmlformats.org/officeDocument/2006/relationships/tags" Target="../tags/tag976.xml"/><Relationship Id="rId6" Type="http://schemas.openxmlformats.org/officeDocument/2006/relationships/tags" Target="../tags/tag800.xml"/><Relationship Id="rId23" Type="http://schemas.openxmlformats.org/officeDocument/2006/relationships/tags" Target="../tags/tag817.xml"/><Relationship Id="rId119" Type="http://schemas.openxmlformats.org/officeDocument/2006/relationships/tags" Target="../tags/tag913.xml"/><Relationship Id="rId44" Type="http://schemas.openxmlformats.org/officeDocument/2006/relationships/tags" Target="../tags/tag838.xml"/><Relationship Id="rId65" Type="http://schemas.openxmlformats.org/officeDocument/2006/relationships/tags" Target="../tags/tag859.xml"/><Relationship Id="rId86" Type="http://schemas.openxmlformats.org/officeDocument/2006/relationships/tags" Target="../tags/tag880.xml"/><Relationship Id="rId130" Type="http://schemas.openxmlformats.org/officeDocument/2006/relationships/tags" Target="../tags/tag924.xml"/><Relationship Id="rId151" Type="http://schemas.openxmlformats.org/officeDocument/2006/relationships/tags" Target="../tags/tag945.xml"/><Relationship Id="rId172" Type="http://schemas.openxmlformats.org/officeDocument/2006/relationships/tags" Target="../tags/tag966.xml"/><Relationship Id="rId13" Type="http://schemas.openxmlformats.org/officeDocument/2006/relationships/tags" Target="../tags/tag807.xml"/><Relationship Id="rId18" Type="http://schemas.openxmlformats.org/officeDocument/2006/relationships/tags" Target="../tags/tag812.xml"/><Relationship Id="rId39" Type="http://schemas.openxmlformats.org/officeDocument/2006/relationships/tags" Target="../tags/tag833.xml"/><Relationship Id="rId109" Type="http://schemas.openxmlformats.org/officeDocument/2006/relationships/tags" Target="../tags/tag903.xml"/><Relationship Id="rId34" Type="http://schemas.openxmlformats.org/officeDocument/2006/relationships/tags" Target="../tags/tag828.xml"/><Relationship Id="rId50" Type="http://schemas.openxmlformats.org/officeDocument/2006/relationships/tags" Target="../tags/tag844.xml"/><Relationship Id="rId55" Type="http://schemas.openxmlformats.org/officeDocument/2006/relationships/tags" Target="../tags/tag849.xml"/><Relationship Id="rId76" Type="http://schemas.openxmlformats.org/officeDocument/2006/relationships/tags" Target="../tags/tag870.xml"/><Relationship Id="rId97" Type="http://schemas.openxmlformats.org/officeDocument/2006/relationships/tags" Target="../tags/tag891.xml"/><Relationship Id="rId104" Type="http://schemas.openxmlformats.org/officeDocument/2006/relationships/tags" Target="../tags/tag898.xml"/><Relationship Id="rId120" Type="http://schemas.openxmlformats.org/officeDocument/2006/relationships/tags" Target="../tags/tag914.xml"/><Relationship Id="rId125" Type="http://schemas.openxmlformats.org/officeDocument/2006/relationships/tags" Target="../tags/tag919.xml"/><Relationship Id="rId141" Type="http://schemas.openxmlformats.org/officeDocument/2006/relationships/tags" Target="../tags/tag935.xml"/><Relationship Id="rId146" Type="http://schemas.openxmlformats.org/officeDocument/2006/relationships/tags" Target="../tags/tag940.xml"/><Relationship Id="rId167" Type="http://schemas.openxmlformats.org/officeDocument/2006/relationships/tags" Target="../tags/tag961.xml"/><Relationship Id="rId188" Type="http://schemas.openxmlformats.org/officeDocument/2006/relationships/oleObject" Target="../embeddings/oleObject8.bin"/><Relationship Id="rId7" Type="http://schemas.openxmlformats.org/officeDocument/2006/relationships/tags" Target="../tags/tag801.xml"/><Relationship Id="rId71" Type="http://schemas.openxmlformats.org/officeDocument/2006/relationships/tags" Target="../tags/tag865.xml"/><Relationship Id="rId92" Type="http://schemas.openxmlformats.org/officeDocument/2006/relationships/tags" Target="../tags/tag886.xml"/><Relationship Id="rId162" Type="http://schemas.openxmlformats.org/officeDocument/2006/relationships/tags" Target="../tags/tag956.xml"/><Relationship Id="rId183" Type="http://schemas.openxmlformats.org/officeDocument/2006/relationships/tags" Target="../tags/tag977.xml"/><Relationship Id="rId2" Type="http://schemas.openxmlformats.org/officeDocument/2006/relationships/tags" Target="../tags/tag796.xml"/><Relationship Id="rId29" Type="http://schemas.openxmlformats.org/officeDocument/2006/relationships/tags" Target="../tags/tag823.xml"/><Relationship Id="rId24" Type="http://schemas.openxmlformats.org/officeDocument/2006/relationships/tags" Target="../tags/tag818.xml"/><Relationship Id="rId40" Type="http://schemas.openxmlformats.org/officeDocument/2006/relationships/tags" Target="../tags/tag834.xml"/><Relationship Id="rId45" Type="http://schemas.openxmlformats.org/officeDocument/2006/relationships/tags" Target="../tags/tag839.xml"/><Relationship Id="rId66" Type="http://schemas.openxmlformats.org/officeDocument/2006/relationships/tags" Target="../tags/tag860.xml"/><Relationship Id="rId87" Type="http://schemas.openxmlformats.org/officeDocument/2006/relationships/tags" Target="../tags/tag881.xml"/><Relationship Id="rId110" Type="http://schemas.openxmlformats.org/officeDocument/2006/relationships/tags" Target="../tags/tag904.xml"/><Relationship Id="rId115" Type="http://schemas.openxmlformats.org/officeDocument/2006/relationships/tags" Target="../tags/tag909.xml"/><Relationship Id="rId131" Type="http://schemas.openxmlformats.org/officeDocument/2006/relationships/tags" Target="../tags/tag925.xml"/><Relationship Id="rId136" Type="http://schemas.openxmlformats.org/officeDocument/2006/relationships/tags" Target="../tags/tag930.xml"/><Relationship Id="rId157" Type="http://schemas.openxmlformats.org/officeDocument/2006/relationships/tags" Target="../tags/tag951.xml"/><Relationship Id="rId178" Type="http://schemas.openxmlformats.org/officeDocument/2006/relationships/tags" Target="../tags/tag972.xml"/><Relationship Id="rId61" Type="http://schemas.openxmlformats.org/officeDocument/2006/relationships/tags" Target="../tags/tag855.xml"/><Relationship Id="rId82" Type="http://schemas.openxmlformats.org/officeDocument/2006/relationships/tags" Target="../tags/tag876.xml"/><Relationship Id="rId152" Type="http://schemas.openxmlformats.org/officeDocument/2006/relationships/tags" Target="../tags/tag946.xml"/><Relationship Id="rId173" Type="http://schemas.openxmlformats.org/officeDocument/2006/relationships/tags" Target="../tags/tag967.xml"/><Relationship Id="rId19" Type="http://schemas.openxmlformats.org/officeDocument/2006/relationships/tags" Target="../tags/tag813.xml"/><Relationship Id="rId14" Type="http://schemas.openxmlformats.org/officeDocument/2006/relationships/tags" Target="../tags/tag808.xml"/><Relationship Id="rId30" Type="http://schemas.openxmlformats.org/officeDocument/2006/relationships/tags" Target="../tags/tag824.xml"/><Relationship Id="rId35" Type="http://schemas.openxmlformats.org/officeDocument/2006/relationships/tags" Target="../tags/tag829.xml"/><Relationship Id="rId56" Type="http://schemas.openxmlformats.org/officeDocument/2006/relationships/tags" Target="../tags/tag850.xml"/><Relationship Id="rId77" Type="http://schemas.openxmlformats.org/officeDocument/2006/relationships/tags" Target="../tags/tag871.xml"/><Relationship Id="rId100" Type="http://schemas.openxmlformats.org/officeDocument/2006/relationships/tags" Target="../tags/tag894.xml"/><Relationship Id="rId105" Type="http://schemas.openxmlformats.org/officeDocument/2006/relationships/tags" Target="../tags/tag899.xml"/><Relationship Id="rId126" Type="http://schemas.openxmlformats.org/officeDocument/2006/relationships/tags" Target="../tags/tag920.xml"/><Relationship Id="rId147" Type="http://schemas.openxmlformats.org/officeDocument/2006/relationships/tags" Target="../tags/tag941.xml"/><Relationship Id="rId168" Type="http://schemas.openxmlformats.org/officeDocument/2006/relationships/tags" Target="../tags/tag962.xml"/><Relationship Id="rId8" Type="http://schemas.openxmlformats.org/officeDocument/2006/relationships/tags" Target="../tags/tag802.xml"/><Relationship Id="rId51" Type="http://schemas.openxmlformats.org/officeDocument/2006/relationships/tags" Target="../tags/tag845.xml"/><Relationship Id="rId72" Type="http://schemas.openxmlformats.org/officeDocument/2006/relationships/tags" Target="../tags/tag866.xml"/><Relationship Id="rId93" Type="http://schemas.openxmlformats.org/officeDocument/2006/relationships/tags" Target="../tags/tag887.xml"/><Relationship Id="rId98" Type="http://schemas.openxmlformats.org/officeDocument/2006/relationships/tags" Target="../tags/tag892.xml"/><Relationship Id="rId121" Type="http://schemas.openxmlformats.org/officeDocument/2006/relationships/tags" Target="../tags/tag915.xml"/><Relationship Id="rId142" Type="http://schemas.openxmlformats.org/officeDocument/2006/relationships/tags" Target="../tags/tag936.xml"/><Relationship Id="rId163" Type="http://schemas.openxmlformats.org/officeDocument/2006/relationships/tags" Target="../tags/tag957.xml"/><Relationship Id="rId184" Type="http://schemas.openxmlformats.org/officeDocument/2006/relationships/tags" Target="../tags/tag978.xml"/><Relationship Id="rId189" Type="http://schemas.openxmlformats.org/officeDocument/2006/relationships/image" Target="../media/image2.emf"/><Relationship Id="rId3" Type="http://schemas.openxmlformats.org/officeDocument/2006/relationships/tags" Target="../tags/tag797.xml"/><Relationship Id="rId25" Type="http://schemas.openxmlformats.org/officeDocument/2006/relationships/tags" Target="../tags/tag819.xml"/><Relationship Id="rId46" Type="http://schemas.openxmlformats.org/officeDocument/2006/relationships/tags" Target="../tags/tag840.xml"/><Relationship Id="rId67" Type="http://schemas.openxmlformats.org/officeDocument/2006/relationships/tags" Target="../tags/tag861.xml"/><Relationship Id="rId116" Type="http://schemas.openxmlformats.org/officeDocument/2006/relationships/tags" Target="../tags/tag910.xml"/><Relationship Id="rId137" Type="http://schemas.openxmlformats.org/officeDocument/2006/relationships/tags" Target="../tags/tag931.xml"/><Relationship Id="rId158" Type="http://schemas.openxmlformats.org/officeDocument/2006/relationships/tags" Target="../tags/tag952.xml"/><Relationship Id="rId20" Type="http://schemas.openxmlformats.org/officeDocument/2006/relationships/tags" Target="../tags/tag814.xml"/><Relationship Id="rId41" Type="http://schemas.openxmlformats.org/officeDocument/2006/relationships/tags" Target="../tags/tag835.xml"/><Relationship Id="rId62" Type="http://schemas.openxmlformats.org/officeDocument/2006/relationships/tags" Target="../tags/tag856.xml"/><Relationship Id="rId83" Type="http://schemas.openxmlformats.org/officeDocument/2006/relationships/tags" Target="../tags/tag877.xml"/><Relationship Id="rId88" Type="http://schemas.openxmlformats.org/officeDocument/2006/relationships/tags" Target="../tags/tag882.xml"/><Relationship Id="rId111" Type="http://schemas.openxmlformats.org/officeDocument/2006/relationships/tags" Target="../tags/tag905.xml"/><Relationship Id="rId132" Type="http://schemas.openxmlformats.org/officeDocument/2006/relationships/tags" Target="../tags/tag926.xml"/><Relationship Id="rId153" Type="http://schemas.openxmlformats.org/officeDocument/2006/relationships/tags" Target="../tags/tag947.xml"/><Relationship Id="rId174" Type="http://schemas.openxmlformats.org/officeDocument/2006/relationships/tags" Target="../tags/tag968.xml"/><Relationship Id="rId179" Type="http://schemas.openxmlformats.org/officeDocument/2006/relationships/tags" Target="../tags/tag973.xml"/><Relationship Id="rId190" Type="http://schemas.openxmlformats.org/officeDocument/2006/relationships/chart" Target="../charts/chart13.xml"/><Relationship Id="rId15" Type="http://schemas.openxmlformats.org/officeDocument/2006/relationships/tags" Target="../tags/tag809.xml"/><Relationship Id="rId36" Type="http://schemas.openxmlformats.org/officeDocument/2006/relationships/tags" Target="../tags/tag830.xml"/><Relationship Id="rId57" Type="http://schemas.openxmlformats.org/officeDocument/2006/relationships/tags" Target="../tags/tag851.xml"/><Relationship Id="rId106" Type="http://schemas.openxmlformats.org/officeDocument/2006/relationships/tags" Target="../tags/tag900.xml"/><Relationship Id="rId127" Type="http://schemas.openxmlformats.org/officeDocument/2006/relationships/tags" Target="../tags/tag921.xml"/><Relationship Id="rId10" Type="http://schemas.openxmlformats.org/officeDocument/2006/relationships/tags" Target="../tags/tag804.xml"/><Relationship Id="rId31" Type="http://schemas.openxmlformats.org/officeDocument/2006/relationships/tags" Target="../tags/tag825.xml"/><Relationship Id="rId52" Type="http://schemas.openxmlformats.org/officeDocument/2006/relationships/tags" Target="../tags/tag846.xml"/><Relationship Id="rId73" Type="http://schemas.openxmlformats.org/officeDocument/2006/relationships/tags" Target="../tags/tag867.xml"/><Relationship Id="rId78" Type="http://schemas.openxmlformats.org/officeDocument/2006/relationships/tags" Target="../tags/tag872.xml"/><Relationship Id="rId94" Type="http://schemas.openxmlformats.org/officeDocument/2006/relationships/tags" Target="../tags/tag888.xml"/><Relationship Id="rId99" Type="http://schemas.openxmlformats.org/officeDocument/2006/relationships/tags" Target="../tags/tag893.xml"/><Relationship Id="rId101" Type="http://schemas.openxmlformats.org/officeDocument/2006/relationships/tags" Target="../tags/tag895.xml"/><Relationship Id="rId122" Type="http://schemas.openxmlformats.org/officeDocument/2006/relationships/tags" Target="../tags/tag916.xml"/><Relationship Id="rId143" Type="http://schemas.openxmlformats.org/officeDocument/2006/relationships/tags" Target="../tags/tag937.xml"/><Relationship Id="rId148" Type="http://schemas.openxmlformats.org/officeDocument/2006/relationships/tags" Target="../tags/tag942.xml"/><Relationship Id="rId164" Type="http://schemas.openxmlformats.org/officeDocument/2006/relationships/tags" Target="../tags/tag958.xml"/><Relationship Id="rId169" Type="http://schemas.openxmlformats.org/officeDocument/2006/relationships/tags" Target="../tags/tag963.xml"/><Relationship Id="rId185" Type="http://schemas.openxmlformats.org/officeDocument/2006/relationships/tags" Target="../tags/tag979.xml"/><Relationship Id="rId4" Type="http://schemas.openxmlformats.org/officeDocument/2006/relationships/tags" Target="../tags/tag798.xml"/><Relationship Id="rId9" Type="http://schemas.openxmlformats.org/officeDocument/2006/relationships/tags" Target="../tags/tag803.xml"/><Relationship Id="rId180" Type="http://schemas.openxmlformats.org/officeDocument/2006/relationships/tags" Target="../tags/tag974.xml"/><Relationship Id="rId26" Type="http://schemas.openxmlformats.org/officeDocument/2006/relationships/tags" Target="../tags/tag820.xml"/><Relationship Id="rId47" Type="http://schemas.openxmlformats.org/officeDocument/2006/relationships/tags" Target="../tags/tag841.xml"/><Relationship Id="rId68" Type="http://schemas.openxmlformats.org/officeDocument/2006/relationships/tags" Target="../tags/tag862.xml"/><Relationship Id="rId89" Type="http://schemas.openxmlformats.org/officeDocument/2006/relationships/tags" Target="../tags/tag883.xml"/><Relationship Id="rId112" Type="http://schemas.openxmlformats.org/officeDocument/2006/relationships/tags" Target="../tags/tag906.xml"/><Relationship Id="rId133" Type="http://schemas.openxmlformats.org/officeDocument/2006/relationships/tags" Target="../tags/tag927.xml"/><Relationship Id="rId154" Type="http://schemas.openxmlformats.org/officeDocument/2006/relationships/tags" Target="../tags/tag948.xml"/><Relationship Id="rId175" Type="http://schemas.openxmlformats.org/officeDocument/2006/relationships/tags" Target="../tags/tag969.xml"/><Relationship Id="rId16" Type="http://schemas.openxmlformats.org/officeDocument/2006/relationships/tags" Target="../tags/tag810.xml"/><Relationship Id="rId37" Type="http://schemas.openxmlformats.org/officeDocument/2006/relationships/tags" Target="../tags/tag831.xml"/><Relationship Id="rId58" Type="http://schemas.openxmlformats.org/officeDocument/2006/relationships/tags" Target="../tags/tag852.xml"/><Relationship Id="rId79" Type="http://schemas.openxmlformats.org/officeDocument/2006/relationships/tags" Target="../tags/tag873.xml"/><Relationship Id="rId102" Type="http://schemas.openxmlformats.org/officeDocument/2006/relationships/tags" Target="../tags/tag896.xml"/><Relationship Id="rId123" Type="http://schemas.openxmlformats.org/officeDocument/2006/relationships/tags" Target="../tags/tag917.xml"/><Relationship Id="rId144" Type="http://schemas.openxmlformats.org/officeDocument/2006/relationships/tags" Target="../tags/tag938.xml"/><Relationship Id="rId90" Type="http://schemas.openxmlformats.org/officeDocument/2006/relationships/tags" Target="../tags/tag884.xml"/><Relationship Id="rId165" Type="http://schemas.openxmlformats.org/officeDocument/2006/relationships/tags" Target="../tags/tag959.xml"/><Relationship Id="rId186" Type="http://schemas.openxmlformats.org/officeDocument/2006/relationships/slideLayout" Target="../slideLayouts/slideLayout1.xml"/><Relationship Id="rId27" Type="http://schemas.openxmlformats.org/officeDocument/2006/relationships/tags" Target="../tags/tag821.xml"/><Relationship Id="rId48" Type="http://schemas.openxmlformats.org/officeDocument/2006/relationships/tags" Target="../tags/tag842.xml"/><Relationship Id="rId69" Type="http://schemas.openxmlformats.org/officeDocument/2006/relationships/tags" Target="../tags/tag863.xml"/><Relationship Id="rId113" Type="http://schemas.openxmlformats.org/officeDocument/2006/relationships/tags" Target="../tags/tag907.xml"/><Relationship Id="rId134" Type="http://schemas.openxmlformats.org/officeDocument/2006/relationships/tags" Target="../tags/tag928.xml"/><Relationship Id="rId80" Type="http://schemas.openxmlformats.org/officeDocument/2006/relationships/tags" Target="../tags/tag874.xml"/><Relationship Id="rId155" Type="http://schemas.openxmlformats.org/officeDocument/2006/relationships/tags" Target="../tags/tag949.xml"/><Relationship Id="rId176" Type="http://schemas.openxmlformats.org/officeDocument/2006/relationships/tags" Target="../tags/tag970.xml"/><Relationship Id="rId17" Type="http://schemas.openxmlformats.org/officeDocument/2006/relationships/tags" Target="../tags/tag811.xml"/><Relationship Id="rId38" Type="http://schemas.openxmlformats.org/officeDocument/2006/relationships/tags" Target="../tags/tag832.xml"/><Relationship Id="rId59" Type="http://schemas.openxmlformats.org/officeDocument/2006/relationships/tags" Target="../tags/tag853.xml"/><Relationship Id="rId103" Type="http://schemas.openxmlformats.org/officeDocument/2006/relationships/tags" Target="../tags/tag897.xml"/><Relationship Id="rId124" Type="http://schemas.openxmlformats.org/officeDocument/2006/relationships/tags" Target="../tags/tag918.xml"/><Relationship Id="rId70" Type="http://schemas.openxmlformats.org/officeDocument/2006/relationships/tags" Target="../tags/tag864.xml"/><Relationship Id="rId91" Type="http://schemas.openxmlformats.org/officeDocument/2006/relationships/tags" Target="../tags/tag885.xml"/><Relationship Id="rId145" Type="http://schemas.openxmlformats.org/officeDocument/2006/relationships/tags" Target="../tags/tag939.xml"/><Relationship Id="rId166" Type="http://schemas.openxmlformats.org/officeDocument/2006/relationships/tags" Target="../tags/tag960.xml"/><Relationship Id="rId187" Type="http://schemas.openxmlformats.org/officeDocument/2006/relationships/notesSlide" Target="../notesSlides/notesSlide7.xml"/><Relationship Id="rId1" Type="http://schemas.openxmlformats.org/officeDocument/2006/relationships/tags" Target="../tags/tag795.xml"/><Relationship Id="rId28" Type="http://schemas.openxmlformats.org/officeDocument/2006/relationships/tags" Target="../tags/tag822.xml"/><Relationship Id="rId49" Type="http://schemas.openxmlformats.org/officeDocument/2006/relationships/tags" Target="../tags/tag843.xml"/><Relationship Id="rId114" Type="http://schemas.openxmlformats.org/officeDocument/2006/relationships/tags" Target="../tags/tag908.xml"/><Relationship Id="rId60" Type="http://schemas.openxmlformats.org/officeDocument/2006/relationships/tags" Target="../tags/tag854.xml"/><Relationship Id="rId81" Type="http://schemas.openxmlformats.org/officeDocument/2006/relationships/tags" Target="../tags/tag875.xml"/><Relationship Id="rId135" Type="http://schemas.openxmlformats.org/officeDocument/2006/relationships/tags" Target="../tags/tag929.xml"/><Relationship Id="rId156" Type="http://schemas.openxmlformats.org/officeDocument/2006/relationships/tags" Target="../tags/tag950.xml"/><Relationship Id="rId177" Type="http://schemas.openxmlformats.org/officeDocument/2006/relationships/tags" Target="../tags/tag971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005.xml"/><Relationship Id="rId21" Type="http://schemas.openxmlformats.org/officeDocument/2006/relationships/tags" Target="../tags/tag1000.xml"/><Relationship Id="rId42" Type="http://schemas.openxmlformats.org/officeDocument/2006/relationships/tags" Target="../tags/tag1021.xml"/><Relationship Id="rId47" Type="http://schemas.openxmlformats.org/officeDocument/2006/relationships/tags" Target="../tags/tag1026.xml"/><Relationship Id="rId63" Type="http://schemas.openxmlformats.org/officeDocument/2006/relationships/tags" Target="../tags/tag1042.xml"/><Relationship Id="rId68" Type="http://schemas.openxmlformats.org/officeDocument/2006/relationships/tags" Target="../tags/tag1047.xml"/><Relationship Id="rId84" Type="http://schemas.openxmlformats.org/officeDocument/2006/relationships/tags" Target="../tags/tag1063.xml"/><Relationship Id="rId89" Type="http://schemas.openxmlformats.org/officeDocument/2006/relationships/tags" Target="../tags/tag1068.xml"/><Relationship Id="rId112" Type="http://schemas.openxmlformats.org/officeDocument/2006/relationships/chart" Target="../charts/chart16.xml"/><Relationship Id="rId16" Type="http://schemas.openxmlformats.org/officeDocument/2006/relationships/tags" Target="../tags/tag995.xml"/><Relationship Id="rId107" Type="http://schemas.openxmlformats.org/officeDocument/2006/relationships/slideLayout" Target="../slideLayouts/slideLayout1.xml"/><Relationship Id="rId11" Type="http://schemas.openxmlformats.org/officeDocument/2006/relationships/tags" Target="../tags/tag990.xml"/><Relationship Id="rId32" Type="http://schemas.openxmlformats.org/officeDocument/2006/relationships/tags" Target="../tags/tag1011.xml"/><Relationship Id="rId37" Type="http://schemas.openxmlformats.org/officeDocument/2006/relationships/tags" Target="../tags/tag1016.xml"/><Relationship Id="rId53" Type="http://schemas.openxmlformats.org/officeDocument/2006/relationships/tags" Target="../tags/tag1032.xml"/><Relationship Id="rId58" Type="http://schemas.openxmlformats.org/officeDocument/2006/relationships/tags" Target="../tags/tag1037.xml"/><Relationship Id="rId74" Type="http://schemas.openxmlformats.org/officeDocument/2006/relationships/tags" Target="../tags/tag1053.xml"/><Relationship Id="rId79" Type="http://schemas.openxmlformats.org/officeDocument/2006/relationships/tags" Target="../tags/tag1058.xml"/><Relationship Id="rId102" Type="http://schemas.openxmlformats.org/officeDocument/2006/relationships/tags" Target="../tags/tag1081.xml"/><Relationship Id="rId5" Type="http://schemas.openxmlformats.org/officeDocument/2006/relationships/tags" Target="../tags/tag984.xml"/><Relationship Id="rId90" Type="http://schemas.openxmlformats.org/officeDocument/2006/relationships/tags" Target="../tags/tag1069.xml"/><Relationship Id="rId95" Type="http://schemas.openxmlformats.org/officeDocument/2006/relationships/tags" Target="../tags/tag1074.xml"/><Relationship Id="rId22" Type="http://schemas.openxmlformats.org/officeDocument/2006/relationships/tags" Target="../tags/tag1001.xml"/><Relationship Id="rId27" Type="http://schemas.openxmlformats.org/officeDocument/2006/relationships/tags" Target="../tags/tag1006.xml"/><Relationship Id="rId43" Type="http://schemas.openxmlformats.org/officeDocument/2006/relationships/tags" Target="../tags/tag1022.xml"/><Relationship Id="rId48" Type="http://schemas.openxmlformats.org/officeDocument/2006/relationships/tags" Target="../tags/tag1027.xml"/><Relationship Id="rId64" Type="http://schemas.openxmlformats.org/officeDocument/2006/relationships/tags" Target="../tags/tag1043.xml"/><Relationship Id="rId69" Type="http://schemas.openxmlformats.org/officeDocument/2006/relationships/tags" Target="../tags/tag1048.xml"/><Relationship Id="rId80" Type="http://schemas.openxmlformats.org/officeDocument/2006/relationships/tags" Target="../tags/tag1059.xml"/><Relationship Id="rId85" Type="http://schemas.openxmlformats.org/officeDocument/2006/relationships/tags" Target="../tags/tag1064.xml"/><Relationship Id="rId12" Type="http://schemas.openxmlformats.org/officeDocument/2006/relationships/tags" Target="../tags/tag991.xml"/><Relationship Id="rId17" Type="http://schemas.openxmlformats.org/officeDocument/2006/relationships/tags" Target="../tags/tag996.xml"/><Relationship Id="rId33" Type="http://schemas.openxmlformats.org/officeDocument/2006/relationships/tags" Target="../tags/tag1012.xml"/><Relationship Id="rId38" Type="http://schemas.openxmlformats.org/officeDocument/2006/relationships/tags" Target="../tags/tag1017.xml"/><Relationship Id="rId59" Type="http://schemas.openxmlformats.org/officeDocument/2006/relationships/tags" Target="../tags/tag1038.xml"/><Relationship Id="rId103" Type="http://schemas.openxmlformats.org/officeDocument/2006/relationships/tags" Target="../tags/tag1082.xml"/><Relationship Id="rId108" Type="http://schemas.openxmlformats.org/officeDocument/2006/relationships/notesSlide" Target="../notesSlides/notesSlide8.xml"/><Relationship Id="rId54" Type="http://schemas.openxmlformats.org/officeDocument/2006/relationships/tags" Target="../tags/tag1033.xml"/><Relationship Id="rId70" Type="http://schemas.openxmlformats.org/officeDocument/2006/relationships/tags" Target="../tags/tag1049.xml"/><Relationship Id="rId75" Type="http://schemas.openxmlformats.org/officeDocument/2006/relationships/tags" Target="../tags/tag1054.xml"/><Relationship Id="rId91" Type="http://schemas.openxmlformats.org/officeDocument/2006/relationships/tags" Target="../tags/tag1070.xml"/><Relationship Id="rId96" Type="http://schemas.openxmlformats.org/officeDocument/2006/relationships/tags" Target="../tags/tag1075.xml"/><Relationship Id="rId1" Type="http://schemas.openxmlformats.org/officeDocument/2006/relationships/tags" Target="../tags/tag980.xml"/><Relationship Id="rId6" Type="http://schemas.openxmlformats.org/officeDocument/2006/relationships/tags" Target="../tags/tag985.xml"/><Relationship Id="rId15" Type="http://schemas.openxmlformats.org/officeDocument/2006/relationships/tags" Target="../tags/tag994.xml"/><Relationship Id="rId23" Type="http://schemas.openxmlformats.org/officeDocument/2006/relationships/tags" Target="../tags/tag1002.xml"/><Relationship Id="rId28" Type="http://schemas.openxmlformats.org/officeDocument/2006/relationships/tags" Target="../tags/tag1007.xml"/><Relationship Id="rId36" Type="http://schemas.openxmlformats.org/officeDocument/2006/relationships/tags" Target="../tags/tag1015.xml"/><Relationship Id="rId49" Type="http://schemas.openxmlformats.org/officeDocument/2006/relationships/tags" Target="../tags/tag1028.xml"/><Relationship Id="rId57" Type="http://schemas.openxmlformats.org/officeDocument/2006/relationships/tags" Target="../tags/tag1036.xml"/><Relationship Id="rId106" Type="http://schemas.openxmlformats.org/officeDocument/2006/relationships/tags" Target="../tags/tag1085.xml"/><Relationship Id="rId10" Type="http://schemas.openxmlformats.org/officeDocument/2006/relationships/tags" Target="../tags/tag989.xml"/><Relationship Id="rId31" Type="http://schemas.openxmlformats.org/officeDocument/2006/relationships/tags" Target="../tags/tag1010.xml"/><Relationship Id="rId44" Type="http://schemas.openxmlformats.org/officeDocument/2006/relationships/tags" Target="../tags/tag1023.xml"/><Relationship Id="rId52" Type="http://schemas.openxmlformats.org/officeDocument/2006/relationships/tags" Target="../tags/tag1031.xml"/><Relationship Id="rId60" Type="http://schemas.openxmlformats.org/officeDocument/2006/relationships/tags" Target="../tags/tag1039.xml"/><Relationship Id="rId65" Type="http://schemas.openxmlformats.org/officeDocument/2006/relationships/tags" Target="../tags/tag1044.xml"/><Relationship Id="rId73" Type="http://schemas.openxmlformats.org/officeDocument/2006/relationships/tags" Target="../tags/tag1052.xml"/><Relationship Id="rId78" Type="http://schemas.openxmlformats.org/officeDocument/2006/relationships/tags" Target="../tags/tag1057.xml"/><Relationship Id="rId81" Type="http://schemas.openxmlformats.org/officeDocument/2006/relationships/tags" Target="../tags/tag1060.xml"/><Relationship Id="rId86" Type="http://schemas.openxmlformats.org/officeDocument/2006/relationships/tags" Target="../tags/tag1065.xml"/><Relationship Id="rId94" Type="http://schemas.openxmlformats.org/officeDocument/2006/relationships/tags" Target="../tags/tag1073.xml"/><Relationship Id="rId99" Type="http://schemas.openxmlformats.org/officeDocument/2006/relationships/tags" Target="../tags/tag1078.xml"/><Relationship Id="rId101" Type="http://schemas.openxmlformats.org/officeDocument/2006/relationships/tags" Target="../tags/tag1080.xml"/><Relationship Id="rId4" Type="http://schemas.openxmlformats.org/officeDocument/2006/relationships/tags" Target="../tags/tag983.xml"/><Relationship Id="rId9" Type="http://schemas.openxmlformats.org/officeDocument/2006/relationships/tags" Target="../tags/tag988.xml"/><Relationship Id="rId13" Type="http://schemas.openxmlformats.org/officeDocument/2006/relationships/tags" Target="../tags/tag992.xml"/><Relationship Id="rId18" Type="http://schemas.openxmlformats.org/officeDocument/2006/relationships/tags" Target="../tags/tag997.xml"/><Relationship Id="rId39" Type="http://schemas.openxmlformats.org/officeDocument/2006/relationships/tags" Target="../tags/tag1018.xml"/><Relationship Id="rId109" Type="http://schemas.openxmlformats.org/officeDocument/2006/relationships/oleObject" Target="../embeddings/oleObject9.bin"/><Relationship Id="rId34" Type="http://schemas.openxmlformats.org/officeDocument/2006/relationships/tags" Target="../tags/tag1013.xml"/><Relationship Id="rId50" Type="http://schemas.openxmlformats.org/officeDocument/2006/relationships/tags" Target="../tags/tag1029.xml"/><Relationship Id="rId55" Type="http://schemas.openxmlformats.org/officeDocument/2006/relationships/tags" Target="../tags/tag1034.xml"/><Relationship Id="rId76" Type="http://schemas.openxmlformats.org/officeDocument/2006/relationships/tags" Target="../tags/tag1055.xml"/><Relationship Id="rId97" Type="http://schemas.openxmlformats.org/officeDocument/2006/relationships/tags" Target="../tags/tag1076.xml"/><Relationship Id="rId104" Type="http://schemas.openxmlformats.org/officeDocument/2006/relationships/tags" Target="../tags/tag1083.xml"/><Relationship Id="rId7" Type="http://schemas.openxmlformats.org/officeDocument/2006/relationships/tags" Target="../tags/tag986.xml"/><Relationship Id="rId71" Type="http://schemas.openxmlformats.org/officeDocument/2006/relationships/tags" Target="../tags/tag1050.xml"/><Relationship Id="rId92" Type="http://schemas.openxmlformats.org/officeDocument/2006/relationships/tags" Target="../tags/tag1071.xml"/><Relationship Id="rId2" Type="http://schemas.openxmlformats.org/officeDocument/2006/relationships/tags" Target="../tags/tag981.xml"/><Relationship Id="rId29" Type="http://schemas.openxmlformats.org/officeDocument/2006/relationships/tags" Target="../tags/tag1008.xml"/><Relationship Id="rId24" Type="http://schemas.openxmlformats.org/officeDocument/2006/relationships/tags" Target="../tags/tag1003.xml"/><Relationship Id="rId40" Type="http://schemas.openxmlformats.org/officeDocument/2006/relationships/tags" Target="../tags/tag1019.xml"/><Relationship Id="rId45" Type="http://schemas.openxmlformats.org/officeDocument/2006/relationships/tags" Target="../tags/tag1024.xml"/><Relationship Id="rId66" Type="http://schemas.openxmlformats.org/officeDocument/2006/relationships/tags" Target="../tags/tag1045.xml"/><Relationship Id="rId87" Type="http://schemas.openxmlformats.org/officeDocument/2006/relationships/tags" Target="../tags/tag1066.xml"/><Relationship Id="rId110" Type="http://schemas.openxmlformats.org/officeDocument/2006/relationships/image" Target="../media/image2.emf"/><Relationship Id="rId61" Type="http://schemas.openxmlformats.org/officeDocument/2006/relationships/tags" Target="../tags/tag1040.xml"/><Relationship Id="rId82" Type="http://schemas.openxmlformats.org/officeDocument/2006/relationships/tags" Target="../tags/tag1061.xml"/><Relationship Id="rId19" Type="http://schemas.openxmlformats.org/officeDocument/2006/relationships/tags" Target="../tags/tag998.xml"/><Relationship Id="rId14" Type="http://schemas.openxmlformats.org/officeDocument/2006/relationships/tags" Target="../tags/tag993.xml"/><Relationship Id="rId30" Type="http://schemas.openxmlformats.org/officeDocument/2006/relationships/tags" Target="../tags/tag1009.xml"/><Relationship Id="rId35" Type="http://schemas.openxmlformats.org/officeDocument/2006/relationships/tags" Target="../tags/tag1014.xml"/><Relationship Id="rId56" Type="http://schemas.openxmlformats.org/officeDocument/2006/relationships/tags" Target="../tags/tag1035.xml"/><Relationship Id="rId77" Type="http://schemas.openxmlformats.org/officeDocument/2006/relationships/tags" Target="../tags/tag1056.xml"/><Relationship Id="rId100" Type="http://schemas.openxmlformats.org/officeDocument/2006/relationships/tags" Target="../tags/tag1079.xml"/><Relationship Id="rId105" Type="http://schemas.openxmlformats.org/officeDocument/2006/relationships/tags" Target="../tags/tag1084.xml"/><Relationship Id="rId8" Type="http://schemas.openxmlformats.org/officeDocument/2006/relationships/tags" Target="../tags/tag987.xml"/><Relationship Id="rId51" Type="http://schemas.openxmlformats.org/officeDocument/2006/relationships/tags" Target="../tags/tag1030.xml"/><Relationship Id="rId72" Type="http://schemas.openxmlformats.org/officeDocument/2006/relationships/tags" Target="../tags/tag1051.xml"/><Relationship Id="rId93" Type="http://schemas.openxmlformats.org/officeDocument/2006/relationships/tags" Target="../tags/tag1072.xml"/><Relationship Id="rId98" Type="http://schemas.openxmlformats.org/officeDocument/2006/relationships/tags" Target="../tags/tag1077.xml"/><Relationship Id="rId3" Type="http://schemas.openxmlformats.org/officeDocument/2006/relationships/tags" Target="../tags/tag982.xml"/><Relationship Id="rId25" Type="http://schemas.openxmlformats.org/officeDocument/2006/relationships/tags" Target="../tags/tag1004.xml"/><Relationship Id="rId46" Type="http://schemas.openxmlformats.org/officeDocument/2006/relationships/tags" Target="../tags/tag1025.xml"/><Relationship Id="rId67" Type="http://schemas.openxmlformats.org/officeDocument/2006/relationships/tags" Target="../tags/tag1046.xml"/><Relationship Id="rId20" Type="http://schemas.openxmlformats.org/officeDocument/2006/relationships/tags" Target="../tags/tag999.xml"/><Relationship Id="rId41" Type="http://schemas.openxmlformats.org/officeDocument/2006/relationships/tags" Target="../tags/tag1020.xml"/><Relationship Id="rId62" Type="http://schemas.openxmlformats.org/officeDocument/2006/relationships/tags" Target="../tags/tag1041.xml"/><Relationship Id="rId83" Type="http://schemas.openxmlformats.org/officeDocument/2006/relationships/tags" Target="../tags/tag1062.xml"/><Relationship Id="rId88" Type="http://schemas.openxmlformats.org/officeDocument/2006/relationships/tags" Target="../tags/tag1067.xml"/><Relationship Id="rId111" Type="http://schemas.openxmlformats.org/officeDocument/2006/relationships/chart" Target="../charts/chart15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98.xml"/><Relationship Id="rId18" Type="http://schemas.openxmlformats.org/officeDocument/2006/relationships/tags" Target="../tags/tag1103.xml"/><Relationship Id="rId26" Type="http://schemas.openxmlformats.org/officeDocument/2006/relationships/tags" Target="../tags/tag1111.xml"/><Relationship Id="rId39" Type="http://schemas.openxmlformats.org/officeDocument/2006/relationships/tags" Target="../tags/tag1124.xml"/><Relationship Id="rId21" Type="http://schemas.openxmlformats.org/officeDocument/2006/relationships/tags" Target="../tags/tag1106.xml"/><Relationship Id="rId34" Type="http://schemas.openxmlformats.org/officeDocument/2006/relationships/tags" Target="../tags/tag1119.xml"/><Relationship Id="rId42" Type="http://schemas.openxmlformats.org/officeDocument/2006/relationships/tags" Target="../tags/tag1127.xml"/><Relationship Id="rId47" Type="http://schemas.openxmlformats.org/officeDocument/2006/relationships/tags" Target="../tags/tag1132.xml"/><Relationship Id="rId50" Type="http://schemas.openxmlformats.org/officeDocument/2006/relationships/oleObject" Target="../embeddings/oleObject10.bin"/><Relationship Id="rId7" Type="http://schemas.openxmlformats.org/officeDocument/2006/relationships/tags" Target="../tags/tag1092.xml"/><Relationship Id="rId2" Type="http://schemas.openxmlformats.org/officeDocument/2006/relationships/tags" Target="../tags/tag1087.xml"/><Relationship Id="rId16" Type="http://schemas.openxmlformats.org/officeDocument/2006/relationships/tags" Target="../tags/tag1101.xml"/><Relationship Id="rId29" Type="http://schemas.openxmlformats.org/officeDocument/2006/relationships/tags" Target="../tags/tag1114.xml"/><Relationship Id="rId11" Type="http://schemas.openxmlformats.org/officeDocument/2006/relationships/tags" Target="../tags/tag1096.xml"/><Relationship Id="rId24" Type="http://schemas.openxmlformats.org/officeDocument/2006/relationships/tags" Target="../tags/tag1109.xml"/><Relationship Id="rId32" Type="http://schemas.openxmlformats.org/officeDocument/2006/relationships/tags" Target="../tags/tag1117.xml"/><Relationship Id="rId37" Type="http://schemas.openxmlformats.org/officeDocument/2006/relationships/tags" Target="../tags/tag1122.xml"/><Relationship Id="rId40" Type="http://schemas.openxmlformats.org/officeDocument/2006/relationships/tags" Target="../tags/tag1125.xml"/><Relationship Id="rId45" Type="http://schemas.openxmlformats.org/officeDocument/2006/relationships/tags" Target="../tags/tag1130.xml"/><Relationship Id="rId53" Type="http://schemas.openxmlformats.org/officeDocument/2006/relationships/image" Target="../media/image4.emf"/><Relationship Id="rId5" Type="http://schemas.openxmlformats.org/officeDocument/2006/relationships/tags" Target="../tags/tag1090.xml"/><Relationship Id="rId10" Type="http://schemas.openxmlformats.org/officeDocument/2006/relationships/tags" Target="../tags/tag1095.xml"/><Relationship Id="rId19" Type="http://schemas.openxmlformats.org/officeDocument/2006/relationships/tags" Target="../tags/tag1104.xml"/><Relationship Id="rId31" Type="http://schemas.openxmlformats.org/officeDocument/2006/relationships/tags" Target="../tags/tag1116.xml"/><Relationship Id="rId44" Type="http://schemas.openxmlformats.org/officeDocument/2006/relationships/tags" Target="../tags/tag1129.xml"/><Relationship Id="rId52" Type="http://schemas.openxmlformats.org/officeDocument/2006/relationships/chart" Target="../charts/chart17.xml"/><Relationship Id="rId4" Type="http://schemas.openxmlformats.org/officeDocument/2006/relationships/tags" Target="../tags/tag1089.xml"/><Relationship Id="rId9" Type="http://schemas.openxmlformats.org/officeDocument/2006/relationships/tags" Target="../tags/tag1094.xml"/><Relationship Id="rId14" Type="http://schemas.openxmlformats.org/officeDocument/2006/relationships/tags" Target="../tags/tag1099.xml"/><Relationship Id="rId22" Type="http://schemas.openxmlformats.org/officeDocument/2006/relationships/tags" Target="../tags/tag1107.xml"/><Relationship Id="rId27" Type="http://schemas.openxmlformats.org/officeDocument/2006/relationships/tags" Target="../tags/tag1112.xml"/><Relationship Id="rId30" Type="http://schemas.openxmlformats.org/officeDocument/2006/relationships/tags" Target="../tags/tag1115.xml"/><Relationship Id="rId35" Type="http://schemas.openxmlformats.org/officeDocument/2006/relationships/tags" Target="../tags/tag1120.xml"/><Relationship Id="rId43" Type="http://schemas.openxmlformats.org/officeDocument/2006/relationships/tags" Target="../tags/tag1128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093.xml"/><Relationship Id="rId51" Type="http://schemas.openxmlformats.org/officeDocument/2006/relationships/image" Target="../media/image3.emf"/><Relationship Id="rId3" Type="http://schemas.openxmlformats.org/officeDocument/2006/relationships/tags" Target="../tags/tag1088.xml"/><Relationship Id="rId12" Type="http://schemas.openxmlformats.org/officeDocument/2006/relationships/tags" Target="../tags/tag1097.xml"/><Relationship Id="rId17" Type="http://schemas.openxmlformats.org/officeDocument/2006/relationships/tags" Target="../tags/tag1102.xml"/><Relationship Id="rId25" Type="http://schemas.openxmlformats.org/officeDocument/2006/relationships/tags" Target="../tags/tag1110.xml"/><Relationship Id="rId33" Type="http://schemas.openxmlformats.org/officeDocument/2006/relationships/tags" Target="../tags/tag1118.xml"/><Relationship Id="rId38" Type="http://schemas.openxmlformats.org/officeDocument/2006/relationships/tags" Target="../tags/tag1123.xml"/><Relationship Id="rId46" Type="http://schemas.openxmlformats.org/officeDocument/2006/relationships/tags" Target="../tags/tag1131.xml"/><Relationship Id="rId20" Type="http://schemas.openxmlformats.org/officeDocument/2006/relationships/tags" Target="../tags/tag1105.xml"/><Relationship Id="rId41" Type="http://schemas.openxmlformats.org/officeDocument/2006/relationships/tags" Target="../tags/tag1126.xml"/><Relationship Id="rId1" Type="http://schemas.openxmlformats.org/officeDocument/2006/relationships/tags" Target="../tags/tag1086.xml"/><Relationship Id="rId6" Type="http://schemas.openxmlformats.org/officeDocument/2006/relationships/tags" Target="../tags/tag1091.xml"/><Relationship Id="rId15" Type="http://schemas.openxmlformats.org/officeDocument/2006/relationships/tags" Target="../tags/tag1100.xml"/><Relationship Id="rId23" Type="http://schemas.openxmlformats.org/officeDocument/2006/relationships/tags" Target="../tags/tag1108.xml"/><Relationship Id="rId28" Type="http://schemas.openxmlformats.org/officeDocument/2006/relationships/tags" Target="../tags/tag1113.xml"/><Relationship Id="rId36" Type="http://schemas.openxmlformats.org/officeDocument/2006/relationships/tags" Target="../tags/tag1121.xml"/><Relationship Id="rId49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325BD9-71BB-4231-A7CA-D3153FE4DDB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362663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4" imgW="7772400" imgH="10058400" progId="TCLayout.ActiveDocument.1">
                  <p:embed/>
                </p:oleObj>
              </mc:Choice>
              <mc:Fallback>
                <p:oleObj name="think-cell 幻灯片" r:id="rId15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1" name="Chart 3">
            <a:extLst>
              <a:ext uri="{FF2B5EF4-FFF2-40B4-BE49-F238E27FC236}">
                <a16:creationId xmlns:a16="http://schemas.microsoft.com/office/drawing/2014/main" id="{B3D30A91-3D40-0965-E6AD-7CDB7A39C90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78736"/>
              </p:ext>
            </p:extLst>
          </p:nvPr>
        </p:nvGraphicFramePr>
        <p:xfrm>
          <a:off x="609600" y="3286125"/>
          <a:ext cx="8824913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6"/>
          </a:graphicData>
        </a:graphic>
      </p:graphicFrame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776BAC78-7026-DA28-0503-6141AF2E751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33413" y="4940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396D6F87-CF42-3FC8-DFE6-D063E9FFD3B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33413" y="72675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9893E343-2A61-3E89-902B-F0AAB339995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33413" y="66071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线连接符 8">
            <a:extLst>
              <a:ext uri="{FF2B5EF4-FFF2-40B4-BE49-F238E27FC236}">
                <a16:creationId xmlns:a16="http://schemas.microsoft.com/office/drawing/2014/main" id="{506ED217-2F34-BDC9-0181-D868DB2786E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33413" y="35528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FD05C5A1-9679-6D2E-C1C1-764DB82DEA2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33413" y="63293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C452DCCA-13A9-0DDF-B08A-E0582159778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33413" y="38290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7D07D8ED-4A2A-987B-1A51-1334851BE44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33413" y="60515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1E76B553-1103-F865-E6C0-244FBDEC040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3413" y="4106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AA65A2D7-6023-0D66-9CEF-77F2B80EAC4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33413" y="57737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23A6583C-220A-D757-B9C9-16E5D54159B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33413" y="43846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A7A31655-F00A-5A0C-9B15-B30CCB9B04E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33413" y="54959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线连接符 2">
            <a:extLst>
              <a:ext uri="{FF2B5EF4-FFF2-40B4-BE49-F238E27FC236}">
                <a16:creationId xmlns:a16="http://schemas.microsoft.com/office/drawing/2014/main" id="{3DA02F7D-958F-6561-CCAE-997E3BC1BDA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33413" y="46624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线连接符 13">
            <a:extLst>
              <a:ext uri="{FF2B5EF4-FFF2-40B4-BE49-F238E27FC236}">
                <a16:creationId xmlns:a16="http://schemas.microsoft.com/office/drawing/2014/main" id="{6494CB7C-CF57-44EF-F0A8-3C274116D79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33413" y="5218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AC150738-1F38-7A4B-2499-49825C8FB32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25450" y="717708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261C2F-CA4B-4412-A478-10611CD55CF5}" type="datetime'''0''''''''''''''''''''''''''''''''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435CD00D-CE6D-1C6B-449A-3F2148053B2C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9538" y="48498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98AE17-E27C-468E-A27D-13B2EB048497}" type="datetime'''''''''''''''''''''6'''''''''''''',''''''''''''''0''''0''''0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6A6F2FEB-5EE2-A97A-C58B-FAEFE6FC82B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9538" y="45720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CC1A77-14FD-47E3-BA8B-7794DFB07C0C}" type="datetime'''''''''''''''''6'''',''''''''''''5''''''''0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C454835F-2065-2001-5294-28F1C8DF083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9538" y="51276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CC5987-D23F-47A9-82C0-2C7A5C286395}" type="datetime'''''''''''''''''''''5,''''''5''''0''''''''''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2DEACD0C-8D5C-D19B-1080-D916C826879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9538" y="42941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BF4C9C-3D52-411F-94A6-2B945C19F6A0}" type="datetime'7,''''''''''''''''''''''''''''''''''''''''0''0''''0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4" name="文本占位符 2">
            <a:extLst>
              <a:ext uri="{FF2B5EF4-FFF2-40B4-BE49-F238E27FC236}">
                <a16:creationId xmlns:a16="http://schemas.microsoft.com/office/drawing/2014/main" id="{12FF6A84-77C8-2C7D-4639-7B166A38994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09538" y="54054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9C6837-21E6-4E5C-8B06-B31D5512D870}" type="datetime'''''5'''',''''''''''''0''''0''''''''''''0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4DFF0B89-7F4A-D267-4340-F50D80188EA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9538" y="40163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1B2A865-4B66-4F35-8673-D14B628697DF}" type="datetime'''''''''7'''''''''''',''''''''''5''''''0''''0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55E97915-0BF5-8A2F-E640-C25125344AD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9538" y="568325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7DF51A-D9E1-4CE9-B425-2CBE43AEF019}" type="datetime'''''''''''''''''''''''''4'''''',''5''''''0''0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5A7BF5A6-EA40-C1FD-B6E9-2558507E8C1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9538" y="37385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E8B420-70FD-4A9C-B505-4552FE9B8D99}" type="datetime'''''''8'''''''''''''''''',00''''''''''''''''''''''0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B17D11B0-2E6F-1FA6-62E9-9A764C077AF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9538" y="59610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9F305A-89F4-403F-B14E-ED5A6168AEEC}" type="datetime'''''''4'''''',''''0''0''''''''''''''''''''''''''''0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" name="文本占位符 2">
            <a:extLst>
              <a:ext uri="{FF2B5EF4-FFF2-40B4-BE49-F238E27FC236}">
                <a16:creationId xmlns:a16="http://schemas.microsoft.com/office/drawing/2014/main" id="{B646D69A-8492-95B9-52B7-179EF8789408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9538" y="34623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9C4DE3-7DC4-4D7B-8855-21A6FBBC9112}" type="datetime'''8'''''''',''5''''0''''0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8" name="文本占位符 2">
            <a:extLst>
              <a:ext uri="{FF2B5EF4-FFF2-40B4-BE49-F238E27FC236}">
                <a16:creationId xmlns:a16="http://schemas.microsoft.com/office/drawing/2014/main" id="{155D4B56-3531-ABA0-15F0-6B614D294E7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09538" y="62388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EA9A390-FF99-40D8-86D4-9A307A8788E7}" type="datetime'''''''''3'''''''''''''''''''''''''',5''''00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84CD539E-29C5-1323-50A7-DD7852D0929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09538" y="65166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CE0A4B-8349-43C6-8349-8A724C3ECAA5}" type="datetime'''''''''''''3'''''''',''0''''''''''''''0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249" name="任意形状 248">
            <a:extLst>
              <a:ext uri="{FF2B5EF4-FFF2-40B4-BE49-F238E27FC236}">
                <a16:creationId xmlns:a16="http://schemas.microsoft.com/office/drawing/2014/main" id="{CC594852-98B2-F680-67D3-7A826B65982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44525" y="6900863"/>
            <a:ext cx="8750301" cy="79376"/>
          </a:xfrm>
          <a:custGeom>
            <a:avLst/>
            <a:gdLst/>
            <a:ahLst/>
            <a:cxnLst/>
            <a:rect l="0" t="0" r="0" b="0"/>
            <a:pathLst>
              <a:path w="8750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750300" y="79375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8" name="任意形状 247">
            <a:extLst>
              <a:ext uri="{FF2B5EF4-FFF2-40B4-BE49-F238E27FC236}">
                <a16:creationId xmlns:a16="http://schemas.microsoft.com/office/drawing/2014/main" id="{194B0991-2A0D-A354-A4F2-51A77C31EDEE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44525" y="6958013"/>
            <a:ext cx="8750301" cy="22226"/>
          </a:xfrm>
          <a:custGeom>
            <a:avLst/>
            <a:gdLst/>
            <a:ahLst/>
            <a:cxnLst/>
            <a:rect l="0" t="0" r="0" b="0"/>
            <a:pathLst>
              <a:path w="8750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7" name="任意形状 246">
            <a:extLst>
              <a:ext uri="{FF2B5EF4-FFF2-40B4-BE49-F238E27FC236}">
                <a16:creationId xmlns:a16="http://schemas.microsoft.com/office/drawing/2014/main" id="{E508C9B7-CEEA-A25F-B082-9EC4A1EF3BF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44525" y="6900863"/>
            <a:ext cx="8750301" cy="22226"/>
          </a:xfrm>
          <a:custGeom>
            <a:avLst/>
            <a:gdLst/>
            <a:ahLst/>
            <a:cxnLst/>
            <a:rect l="0" t="0" r="0" b="0"/>
            <a:pathLst>
              <a:path w="8750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63" name="直线连接符 262">
            <a:extLst>
              <a:ext uri="{FF2B5EF4-FFF2-40B4-BE49-F238E27FC236}">
                <a16:creationId xmlns:a16="http://schemas.microsoft.com/office/drawing/2014/main" id="{C4B9A120-D6C9-8C89-C89E-B7A62496E85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9428163" y="4894263"/>
            <a:ext cx="0" cy="6810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226FF763-79DD-A1B1-D7E1-06D7814D798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9351963" y="489743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2A071726-BEA7-7256-6C22-46BAFFEB05B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92150" y="5572125"/>
            <a:ext cx="8778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97D90AD3-3E68-7BF0-A9B2-8792239383E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H="1">
            <a:off x="736600" y="4311650"/>
            <a:ext cx="161925" cy="1025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1A31D52A-5CB3-24D2-4491-37E6061182F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524875" y="3900488"/>
            <a:ext cx="39688" cy="2184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71973856-067A-46A4-425B-93B8C1FF0216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772400" y="3884613"/>
            <a:ext cx="4763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665B1E91-22D1-D7B3-1DCF-D0F7C5F3463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6989763" y="3884613"/>
            <a:ext cx="7938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99929CF1-FCDD-E89B-E67A-E0FF4AFA4A73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H="1">
            <a:off x="6202363" y="3916363"/>
            <a:ext cx="9525" cy="742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B4B5FE65-F794-EC5F-FEB7-641E09BC1204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5397500" y="3905250"/>
            <a:ext cx="17463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345A9899-3C24-9026-64FF-21A48464F92A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4629150" y="4013200"/>
            <a:ext cx="63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090851CB-A33D-9F03-4D0A-3D45A2082F43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auto">
          <a:xfrm>
            <a:off x="3838575" y="4037013"/>
            <a:ext cx="3175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0678CCE4-7B16-B9DA-115A-68FEB70DA782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auto">
          <a:xfrm flipH="1">
            <a:off x="3054350" y="4235450"/>
            <a:ext cx="174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462AA60F-BEAD-E273-EC36-52AE485C3C2C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H="1">
            <a:off x="2266950" y="4240213"/>
            <a:ext cx="19050" cy="895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8D7F4EB7-0A89-7C3D-CF33-43824B0B8422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H="1">
            <a:off x="1479550" y="4279900"/>
            <a:ext cx="68263" cy="957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63D781B5-524A-F566-E2B7-2A271A5DF6F1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2070100" y="63436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782051-E979-47F2-8DCB-8A813EF65C4F}" type="datetime'''''''''''''''''''4'''''''''''''''''''',''8''3''''''''6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36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C2412F21-F92D-5F7F-6B8F-D2347C1F758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19891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FF3A414A-833B-F960-EAFF-E3A5EE8B6BC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029700" y="37703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C52349-D1BC-4DB1-BBA5-86F971C749FB}" type="datetime'''''''''''7''5''''''''''''''''''9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2F6923B5-927D-6448-8244-B42A40426665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913813" y="4398963"/>
            <a:ext cx="3937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6749C4-0011-4E2A-BE7A-6430542C9181}" type="datetime'''1'''''''',''''''''''''''''''''''''5''''''0''''''''''1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501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CC524ED4-ACE0-B078-DB32-856C1A36C751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8913813" y="599916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13F4F5-3AA5-408D-A5BE-7CFD075EB613}" type="datetime'''6'''''''''''''''''',0''''7''7''''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077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74B01A9E-89DE-096F-CBDA-AB02C17E06C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1526C9D9-5F5B-B305-6B68-A6D0B398920C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9494838" y="37576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C05BC870-DFD9-B6BD-5D4B-0B9DD21FCEFF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9494838" y="4384675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848A5615-91D1-0306-F22E-D66EABFC52A4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9494838" y="59864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D33A9500-F93E-125A-18A8-C0788661383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85800" y="41195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38749A-7352-423B-AEBE-4434A980BEA0}" type="datetime'''5'''''''''''',''''''2''''''''4''''''''''7'''''''''''''">
              <a:rPr kumimoji="1" lang="zh-CN" altLang="en-US" sz="1400" smtClean="0"/>
              <a:pPr/>
              <a:t>5,247</a:t>
            </a:fld>
            <a:endParaRPr kumimoji="1" lang="zh-CN" altLang="en-US" sz="1400" dirty="0"/>
          </a:p>
        </p:txBody>
      </p:sp>
      <p:sp>
        <p:nvSpPr>
          <p:cNvPr id="68" name="文本占位符 2">
            <a:extLst>
              <a:ext uri="{FF2B5EF4-FFF2-40B4-BE49-F238E27FC236}">
                <a16:creationId xmlns:a16="http://schemas.microsoft.com/office/drawing/2014/main" id="{C9EC6C80-4391-9F51-AA99-513B418D6E6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8367713" y="6858000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B06230-863A-4D36-9023-378AB1098357}" type="datetime'''''''''''''''2'',''''9''''''''''''''''''''''''''89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8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0CAA01A2-0D27-AD16-2F23-2B29692C873B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325563" y="40878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245142-EE75-4849-A70F-1F3321EE2687}" type="datetime'5'''''''''''',''''4''2''6'''''''">
              <a:rPr kumimoji="1" lang="zh-CN" altLang="en-US" sz="1400" smtClean="0"/>
              <a:pPr/>
              <a:t>5,426</a:t>
            </a:fld>
            <a:endParaRPr kumimoji="1" lang="zh-CN" altLang="en-US" sz="1400" dirty="0"/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3E2DE4A2-65E2-195E-65F0-8F4476FE626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426450" y="6327775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9886C-F632-4AC3-BF32-1FBBBF913486}" type="datetime'''''7''2''9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7016DC4E-BA11-444D-FD6A-C99AC4AD35D9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2058988" y="40481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AFE86C-1DA0-443A-80C6-3236FA3FF05E}" type="datetime'''''''''''''''''''''''5,''''''''''6''''0''''''8'''''''''''">
              <a:rPr kumimoji="1" lang="zh-CN" altLang="en-US" sz="1400" smtClean="0"/>
              <a:pPr/>
              <a:t>5,608</a:t>
            </a:fld>
            <a:endParaRPr kumimoji="1" lang="zh-CN" altLang="en-US" sz="1400" dirty="0"/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D6E14298-34E6-735F-6454-0926F5FC9126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12017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6A01F82A-96E2-F3AB-781B-2E5A00AA5460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2844800" y="40433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065F23-2B5D-4F78-8E98-D7A062CB8542}" type="datetime'''''''''''''''''''5'''',''''''''9''''''9''''9'''">
              <a:rPr kumimoji="1" lang="zh-CN" altLang="en-US" sz="1400" smtClean="0"/>
              <a:pPr/>
              <a:t>5,999</a:t>
            </a:fld>
            <a:endParaRPr kumimoji="1" lang="zh-CN" altLang="en-US" sz="1400" dirty="0"/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3C00CF60-807E-2538-99B6-5C08EBD20DC3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499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FE95F90A-4DA8-52B7-A4FF-93FC739FBDD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3609975" y="38449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C07E4F-1177-443A-B104-6DFEBB58A7A4}" type="datetime'''''6'''''',2''''''''''''''''''01'''''''''''''''''''">
              <a:rPr kumimoji="1" lang="zh-CN" altLang="en-US" sz="1400" smtClean="0"/>
              <a:pPr/>
              <a:t>6,201</a:t>
            </a:fld>
            <a:endParaRPr kumimoji="1" lang="zh-CN" altLang="en-US" sz="1400" dirty="0"/>
          </a:p>
        </p:txBody>
      </p:sp>
      <p:sp>
        <p:nvSpPr>
          <p:cNvPr id="64" name="文本占位符 2">
            <a:extLst>
              <a:ext uri="{FF2B5EF4-FFF2-40B4-BE49-F238E27FC236}">
                <a16:creationId xmlns:a16="http://schemas.microsoft.com/office/drawing/2014/main" id="{84F7D999-4E21-1E33-A40B-6FFE73BE1C8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580313" y="63261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7E1360-340C-49B3-A7D9-1937A77D9219}" type="datetime'''''''''''''4'',''''9''''0''''''''''4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90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C4827F06-B093-91A2-1266-74F28CA73FE8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4406900" y="38211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A49390-9DA9-49BF-91B4-889D12A9E274}" type="datetime'6,''''''27''''''''8'''''''''''''''''''''''''''''''''''''">
              <a:rPr kumimoji="1" lang="zh-CN" altLang="en-US" sz="1400" smtClean="0"/>
              <a:pPr/>
              <a:t>6,278</a:t>
            </a:fld>
            <a:endParaRPr kumimoji="1" lang="zh-CN" altLang="en-US" sz="1400" dirty="0"/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FF50D855-C4F5-0D2D-5473-A6266931BEA9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580313" y="5153025"/>
            <a:ext cx="3937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E15535-BBFC-421F-8EE3-89F147934259}" type="datetime'''''''1'''''''''''''',1''''''''''2''8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28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D965F241-C7DD-EE61-ADEA-4E44BDC3F51E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5165725" y="37131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FB7820-0FCA-49F3-A0CC-DEDEB8ED1E3A}" type="datetime'''''''''''''6'''''',''''''''''''6''''''''7''''''''''0'''''">
              <a:rPr kumimoji="1" lang="zh-CN" altLang="en-US" sz="1400" smtClean="0"/>
              <a:pPr/>
              <a:t>6,67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E890F83D-B4F4-650D-B5C3-083F05D6EA7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7639050" y="458628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EAA1D4-2381-4AA3-A8C4-F8BC6AC8377A}" type="datetime'''''''''''''''''''9''''1''''''''''''''''''''''''3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7040AE06-13DD-4177-2166-B7906007C924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5984875" y="37242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E0B484-A2AC-45AA-9617-99158E7009F6}" type="datetime'''''''''6'''''''''''''''',''''''''''''466'''''''''''''''">
              <a:rPr kumimoji="1" lang="zh-CN" altLang="en-US" sz="1400" smtClean="0"/>
              <a:pPr/>
              <a:t>6,4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67F82FF0-5156-DDDE-0D70-C8B6F992C5CB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67119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55505440-68C7-70B4-7468-DADD6C599ADE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6770688" y="36925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32A387-5149-4768-9DE2-ABF1977DA0B7}" type="datetime'''''''''''''''''''''''''7'''''',''163'''''''''''''''">
              <a:rPr kumimoji="1" lang="zh-CN" altLang="en-US" sz="1400" smtClean="0"/>
              <a:pPr/>
              <a:t>7,16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0" name="文本占位符 2">
            <a:extLst>
              <a:ext uri="{FF2B5EF4-FFF2-40B4-BE49-F238E27FC236}">
                <a16:creationId xmlns:a16="http://schemas.microsoft.com/office/drawing/2014/main" id="{B1414857-2840-FC98-AA74-A592A9F6870E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6792913" y="62039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FD40C1-1463-479B-B811-1F1741CCE920}" type="datetime'''5'''''''''''',''''''''3''''4''''''''''''''4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4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8B7C4050-F941-10C1-D8B3-6323257D05F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7542213" y="36925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75C47A2-3014-4440-905C-11BB374E09BF}" type="datetime'''''''''''6'''''''',9''''''4''''''''5'">
              <a:rPr kumimoji="1" lang="zh-CN" altLang="en-US" sz="1400" smtClean="0"/>
              <a:pPr/>
              <a:t>6,94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7A897D39-3F14-E591-3C90-DCA2B0C8A0F9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5924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3334DA6E-4089-F777-7ACA-7C746E8CD43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8294688" y="37084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002F52-B100-4F7C-BE7D-CD85A96BAAED}" type="datetime'''''''''''''''''3,''''''''''''''''''''''''''9''00'''">
              <a:rPr kumimoji="1" lang="zh-CN" altLang="en-US" sz="1400" smtClean="0"/>
              <a:pPr/>
              <a:t>3,9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3C3DF0D2-9B6A-C79B-87D5-CA174939819E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6005513" y="63007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EC0D2E-B637-4839-94F1-13E353FEFD7E}" type="datetime'4'''',''''''''9''''9''''''''''''''''''4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99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D72E66A4-2AA1-99F6-4AF5-4EDFCADA1A7F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9123363" y="34290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EB4CFD-7A0E-4D68-8F04-3B369BB51873}" type="datetime'''''''''''''''8'',''33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33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4BA5CC5B-4866-2A0C-DB22-12EC91718F61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282700" y="63341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D38F70-361B-464F-BEC7-EEBBC7135732}" type="datetime'4'''''''''''''''''''''''',''8''''''7''''''''''3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7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1FB48377-DED7-8853-FFB0-0E9B257A3757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341438" y="5435600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61689-ADA8-44E0-A3D5-2502B37ADE1F}" type="datetime'''''''''''''''''1''''''7''''''''''''''''''2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7745E32-46D0-21E8-FE3C-0DD72E1589A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414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9E938D35-11CD-9D69-7704-D27E0D9150C0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736599" y="633730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06CCFE-8BA6-4196-9B94-80E3969E84DA}" type="datetime'''''4'',''''''8''''''''''''''''6''''''''2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6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491A7DC9-021F-5D2D-2C17-B30D87FA1145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8426450" y="60753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266F9B-8948-45F5-B226-42FDC7CD5C5D}" type="datetime'''''''''''1''''''''''''''''''8''''''''''''''''2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4000448-CE16-CBF2-0AC4-4FEA891C8703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5137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2" name="文本占位符 2">
            <a:extLst>
              <a:ext uri="{FF2B5EF4-FFF2-40B4-BE49-F238E27FC236}">
                <a16:creationId xmlns:a16="http://schemas.microsoft.com/office/drawing/2014/main" id="{40C80880-2BA0-F42A-B05F-C3CEBC185228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5218113" y="62071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D9327-CC3C-4D2A-851D-F7D833E84793}" type="datetime'5'''''''''''''''''''''''''',''32''''''''''''''8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28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6570E558-1432-8A59-6E9E-18553CFAF3E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4351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397B27F3-8E41-F43B-1AF3-FC7A5A64E4DC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4432300" y="626586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DCA19E-8E55-4800-8793-D6EFF711B534}" type="datetime'''''''''''5'''''',''''''''''1''''''''''''1''''''''''''9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11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CB94C409-3E7B-882F-D72F-C593169DCEAC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5639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5DD43B9C-AA8C-E5FE-3D25-B3F2085F9770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644900" y="624840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A2341-D965-4C2B-985A-5378328EBCCC}" type="datetime'''5'''''',''18''''''''''''''''4''''''''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18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54F6CF56-FD48-9B3C-411D-10FAAFD7AC13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27765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FD952C5D-4A37-243E-FF0C-3E9944EA3AE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2857500" y="62722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2CF5D8-B176-4FD8-8B22-6E19FBC6E64A}" type="datetime'''''''''''''''''''''''''''''''5'''''''''',09''''''''''''''8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098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66C26AB8-ED41-68B6-D50C-69F0335BA4A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82867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506CB04C-5E28-0C5F-699A-5C9C4A346B61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9145588" y="5140325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6429D44-37F7-4EAA-811E-0509A27D0A70}" type="datetime'''''''''''''''''+''''2''5''''%''''''''''''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25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04E7A396-6DAD-5BF7-A699-BC32417F02B0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行业新老户收入贡献变化（万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170C1380-B180-6010-632A-AC182206FCDD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241" name="Chart 3">
            <a:extLst>
              <a:ext uri="{FF2B5EF4-FFF2-40B4-BE49-F238E27FC236}">
                <a16:creationId xmlns:a16="http://schemas.microsoft.com/office/drawing/2014/main" id="{6F2C1826-2F15-63BC-8E75-F92C9C241D2A}"/>
              </a:ext>
            </a:extLst>
          </p:cNvPr>
          <p:cNvGraphicFramePr/>
          <p:nvPr>
            <p:custDataLst>
              <p:tags r:id="rId93"/>
            </p:custDataLst>
            <p:extLst>
              <p:ext uri="{D42A27DB-BD31-4B8C-83A1-F6EECF244321}">
                <p14:modId xmlns:p14="http://schemas.microsoft.com/office/powerpoint/2010/main" val="3173050263"/>
              </p:ext>
            </p:extLst>
          </p:nvPr>
        </p:nvGraphicFramePr>
        <p:xfrm>
          <a:off x="11601450" y="3278188"/>
          <a:ext cx="86995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7"/>
          </a:graphicData>
        </a:graphic>
      </p:graphicFrame>
      <p:cxnSp>
        <p:nvCxnSpPr>
          <p:cNvPr id="236" name="直线连接符 235">
            <a:extLst>
              <a:ext uri="{FF2B5EF4-FFF2-40B4-BE49-F238E27FC236}">
                <a16:creationId xmlns:a16="http://schemas.microsoft.com/office/drawing/2014/main" id="{6BF4C59D-CAC7-3C31-498F-582B10A070C4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11625263" y="3544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BB5263E4-B40E-0DDC-D969-3B2CFDB682D4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11625263" y="72596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线连接符 229">
            <a:extLst>
              <a:ext uri="{FF2B5EF4-FFF2-40B4-BE49-F238E27FC236}">
                <a16:creationId xmlns:a16="http://schemas.microsoft.com/office/drawing/2014/main" id="{B17C849E-6445-8D66-D060-A7BAA455CFE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11625263" y="66690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线连接符 230">
            <a:extLst>
              <a:ext uri="{FF2B5EF4-FFF2-40B4-BE49-F238E27FC236}">
                <a16:creationId xmlns:a16="http://schemas.microsoft.com/office/drawing/2014/main" id="{1641353A-7273-8F40-B6C5-444CBD4E6381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11625263" y="6148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FE7D20D6-5C78-29A2-19F4-50B323A7B87A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11625263" y="5627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88FFC3D7-2D7B-626F-6597-6838E9B2C6A7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11625263" y="51069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30A80B2E-629E-34FB-BF19-A5F5BC48CF44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11625263" y="45862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直线连接符 234">
            <a:extLst>
              <a:ext uri="{FF2B5EF4-FFF2-40B4-BE49-F238E27FC236}">
                <a16:creationId xmlns:a16="http://schemas.microsoft.com/office/drawing/2014/main" id="{C968C4AD-7B2A-0DF9-68D3-70B9B7CACA4C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11625263" y="40655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A555977A-E264-CEAE-28EC-C86DE4E2431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1155363" y="7169150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64C2D1-4099-4AA8-8B2A-DDE4B922EE73}" type="datetime'''''''''''''''''''''0''''''''.''''0%'''''''''''''''''''">
              <a:rPr kumimoji="1" lang="zh-CN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EFD57AAE-EE6D-5204-5AFB-421AA7B73AB1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1064875" y="65786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3B74FC9-F38A-4559-B4D4-85DE98346E8E}" type="datetime'''7''''''0''''''''''''''''''.''''''0''''%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.0%</a:t>
            </a:fld>
            <a:endParaRPr kumimoji="1" lang="zh-CN" altLang="en-US" sz="14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1DBC07B3-80B8-1FB1-2943-7596F2DA3FB5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1064875" y="60579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DAE2261-ACD0-40DA-AD4D-EEE31200F08C}" type="datetime'''''''''''''''''''''75.''''''''''''''''0''''%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5.0%</a:t>
            </a:fld>
            <a:endParaRPr kumimoji="1" lang="zh-CN" altLang="en-US" sz="14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FA37E560-AE7C-85DE-9E14-21178A4C5B3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1064875" y="55372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D97DEF1-B9AA-43DF-B91E-FC99C46972F1}" type="datetime'''''8''''''''''''0.''''0''''''''''''''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.0%</a:t>
            </a:fld>
            <a:endParaRPr kumimoji="1" lang="zh-CN" altLang="en-US" sz="1400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4FCBC3E7-ADDF-1DAF-4374-198DC1C02FE8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11064875" y="50165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10D7868-DF22-4483-A8B2-6E927F88A2A7}" type="datetime'8''''''5''.''0''''''''''''''''''''''%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5.0%</a:t>
            </a:fld>
            <a:endParaRPr kumimoji="1" lang="zh-CN" altLang="en-US" sz="1400" dirty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14587E89-5422-8269-26B3-9A5B5D05063F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1064875" y="44958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B1E9B1-E278-442F-9125-34FD5A72B829}" type="datetime'''''''''''9''''''''''''''''''''0''.0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.0%</a:t>
            </a:fld>
            <a:endParaRPr kumimoji="1" lang="zh-CN" altLang="en-US" sz="1400" dirty="0"/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1DEDF33B-E3D2-ECA0-8C9B-CD9D3B1C906C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11064875" y="39751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5CEFC91-FDE6-473F-8ADA-4D1AC001275B}" type="datetime'''9''''5''.''''''''''''''''''''''0''''%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5.0%</a:t>
            </a:fld>
            <a:endParaRPr kumimoji="1" lang="zh-CN" altLang="en-US" sz="1400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D01F306-E1BA-C152-6A59-A2EBE53F16DB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0974388" y="3454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E021B46-03E4-45D6-AD5F-255D7BC589AF}" type="datetime'''''1''''0''0.0''''''''''''''''''''''''''''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.0%</a:t>
            </a:fld>
            <a:endParaRPr kumimoji="1" lang="zh-CN" altLang="en-US" sz="1400" dirty="0"/>
          </a:p>
        </p:txBody>
      </p:sp>
      <p:sp useBgFill="1">
        <p:nvSpPr>
          <p:cNvPr id="239" name="任意形状 238">
            <a:extLst>
              <a:ext uri="{FF2B5EF4-FFF2-40B4-BE49-F238E27FC236}">
                <a16:creationId xmlns:a16="http://schemas.microsoft.com/office/drawing/2014/main" id="{E2EE128B-C2FA-9251-08C8-9F0CBCD5BE42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11614150" y="6892925"/>
            <a:ext cx="8667751" cy="79376"/>
          </a:xfrm>
          <a:custGeom>
            <a:avLst/>
            <a:gdLst/>
            <a:ahLst/>
            <a:cxnLst/>
            <a:rect l="0" t="0" r="0" b="0"/>
            <a:pathLst>
              <a:path w="8667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7" name="任意形状 236">
            <a:extLst>
              <a:ext uri="{FF2B5EF4-FFF2-40B4-BE49-F238E27FC236}">
                <a16:creationId xmlns:a16="http://schemas.microsoft.com/office/drawing/2014/main" id="{FED4FE72-2AE5-2318-8B31-D6712548683E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11614150" y="6892925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8" name="任意形状 237">
            <a:extLst>
              <a:ext uri="{FF2B5EF4-FFF2-40B4-BE49-F238E27FC236}">
                <a16:creationId xmlns:a16="http://schemas.microsoft.com/office/drawing/2014/main" id="{4A4167D8-676A-ABFD-A47C-0E90AF804981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11614150" y="6950075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0345575D-FADB-0281-0E5E-EBC7AA9D3A95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11728450" y="570071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643282-E99A-4B1A-B51F-2848531646A6}" type="datetime'''''''''9''''''''''''''''3''%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3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20F0C610-CFF7-17C6-D03A-511521B96C1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15409863" y="62801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43C62E-8FA9-4EFC-B8EF-E594A22B3541}" type="datetime'''''''8''''2''''''''''''''''''''''''''%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3910BA85-1CBA-6C70-4771-1FB04A00F00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99" name="文本占位符 2">
            <a:extLst>
              <a:ext uri="{FF2B5EF4-FFF2-40B4-BE49-F238E27FC236}">
                <a16:creationId xmlns:a16="http://schemas.microsoft.com/office/drawing/2014/main" id="{A97E6DF2-5BB9-3D17-C097-16E8F7AA0DFF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13081000" y="60356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E39078-4CD2-4686-B43D-7443421C4988}" type="datetime'''''''''''''''''''''''8''''''''''''''''''6''''''''''%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65F86F14-4F4F-2956-224C-603F38E0CDFD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F9CEDECB-CFAA-F522-05FE-0C25FD6E2C32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13857288" y="61007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CCBAE1-B621-4867-8E9A-2576ACF8D3CA}" type="datetime'''''''''''''''8''''''''''5''''''''''%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92E2000B-5384-87DC-F17E-CDD8EBBE4110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94405595-3EA2-1D6A-F076-D34277952817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14633575" y="617220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2D622-26F5-4F64-9F89-56298F4A8B3A}" type="datetime'8''4''''''''''''''''%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53848B92-697E-291D-96A1-FC4B2B5207E6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35C96A78-AAD1-AC3A-7719-57207277CBBA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48E3A09B-7BA6-2A54-7492-12EF076BFEE9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56" name="文本占位符 2">
            <a:extLst>
              <a:ext uri="{FF2B5EF4-FFF2-40B4-BE49-F238E27FC236}">
                <a16:creationId xmlns:a16="http://schemas.microsoft.com/office/drawing/2014/main" id="{BF77EDDC-B105-78E9-DFE8-DB2905DCBF6F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16184563" y="63658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70B205-17B2-4C6E-B4D2-03FE3EB248A5}" type="datetime'''''''''''''''''8''''''''0''''''''%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5919AB46-5BC2-A24A-9765-667D69C2236B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24A67568-F1EC-46B7-2A83-3654DC0F45E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gray">
          <a:xfrm>
            <a:off x="16960850" y="65039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F5BB0B-07CC-4CA5-9835-39818801582F}" type="datetime'''''''''''''''''''''''77''''''''''''''%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94492DF9-5A2F-594A-1A99-0FDE091EDDE2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E21A5706-4F95-A9EE-7AE1-5AC58E4A54EC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17737138" y="664051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52E0F8-5C65-423F-B55D-B93AFB87D02C}" type="datetime'''75''''''''%''''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967C1EC1-8AFF-379A-AE39-7178C0038B1A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E9F39FF3-1227-76CE-13EF-262AE26AB4A3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18513425" y="6850063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607F06-6182-46CD-8522-F88B91BC2F43}" type="datetime'''''''''7''''''''''''''''''1''''''''''%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D33DAC6C-D260-0230-B9E3-E9FEBF3A4BB4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BC98F019-2DB7-F6A1-971A-BD6DCE059034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19288125" y="653573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919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C252EA-1213-4964-BF15-29AB2B199F8F}" type="datetime'''''''''''7''''''''''''7''''''''''''''%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60F1260C-C1FC-A6CB-9A49-76D80D173D5E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88DBF49C-D63F-6D79-A510-23824D6B988F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gray">
          <a:xfrm>
            <a:off x="19864388" y="673100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BBBC6E-152C-4C43-8D63-F638FB884A25}" type="datetime'''''''7''''''''''''''''''''''''''''3%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D93FFA68-8D09-B224-8D3F-36D78359B5A9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5B29FEB-B38D-CB10-D8D0-7E0DCDCF9ECF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20361275" y="39227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81CDDE6-6FB5-C6B4-F293-167E1DE3976B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20361275" y="5334000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07E413FC-C50C-25A6-F24E-01C18586AD97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20361275" y="67183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BA7100AB-2CF7-64DA-2027-2F9937FB89FD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F0E16B-20F3-4122-8452-246594BDBE24}" type="datetime'''''''''''''''''5'''''''''',''''''''''''''2''''''''''''47'''">
              <a:rPr kumimoji="1" lang="zh-CN" altLang="en-US" sz="1400" smtClean="0"/>
              <a:pPr/>
              <a:t>5,247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893C893A-B9D2-0A6E-B21C-2D3ACB4D48A5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5A7D97-14FA-44AA-A93A-1AA021EF0033}" type="datetime'''''''''''''''''''5'''',''''''''''''4''''''''''''''2''''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426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473E2D04-65E3-8857-A7EB-86F53BE0FEA6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12DF9F-AC86-48B2-85D6-0D2E680C918D}" type="datetime'''''''''''''''5'''''''',''''''6''0''''''8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08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582A65FB-D6AD-B7F0-0F07-FB371B24DA02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gray">
          <a:xfrm>
            <a:off x="1378267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5C0105-5B71-4083-A612-647E2F59B8BD}" type="datetime'''''''''''''''''''''''''''''''''''''''''5,''''9''''''''9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999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246A351B-56B4-90C2-96D3-C1835017C18B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gray">
          <a:xfrm>
            <a:off x="1455896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51CC73-7C29-47CB-A83E-452E109D4250}" type="datetime'''''''''6,''''''''2''''''''''''''0''''''''''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201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8E612F09-E575-13CD-81E5-4AF18C9047E3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gray">
          <a:xfrm>
            <a:off x="153352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DB0ACE-FCAF-445C-B1C4-F213EDCFBC4E}" type="datetime'''''''6'''',''''''''''''''''''''2''''''''''''7''8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278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DE45B4F1-225A-4206-8EE8-7BB3BE0E4F98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gray">
          <a:xfrm>
            <a:off x="161099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9167A9-4134-4EFC-A09F-11D5BBBD864F}" type="datetime'''''''6'''',''''''''''''''''6''7''''''''''''''''''''''''''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67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BDB78464-D9A4-FB31-90D3-DE1DA3278FEB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gray">
          <a:xfrm>
            <a:off x="1688623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788D64-83B1-4C31-ABBC-F8B55440B50A}" type="datetime'''''''''''6'''''''''''''''''',''''46''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4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2380A7BC-DF56-5405-119F-8803D6DA560F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gray">
          <a:xfrm>
            <a:off x="1766252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5629B-D98C-4E6F-B811-F3ECAF6BBC82}" type="datetime'''''''''''''''''''''''''''''''7,''''''''16''''''''3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16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551C8EFF-0A8D-C2CA-6093-1E30652AA9A0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gray">
          <a:xfrm>
            <a:off x="1843881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8F1308-F10A-41B5-AF39-50CB0901CAFE}" type="datetime'''6,''''9''''''''''''4''''''''''''5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94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B17B81FC-9038-97E7-5490-D6911F52B401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gray">
          <a:xfrm>
            <a:off x="19305588" y="3322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1CF450-ADA5-4431-B27F-F539121CA30F}" type="datetime'''''''3'''',''''''9''''0''''''''''0'''''''''''''''''">
              <a:rPr kumimoji="1" lang="zh-CN" altLang="en-US" sz="1400" smtClean="0"/>
              <a:pPr/>
              <a:t>3,9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BBEF2357-F967-0214-C325-DCF1DF966F37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gray">
          <a:xfrm>
            <a:off x="1998980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86E096-3518-45BF-962E-6458F677FC2C}" type="datetime'''''''''8'''',''''''3''''''3''7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33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7" name="文本占位符 2">
            <a:extLst>
              <a:ext uri="{FF2B5EF4-FFF2-40B4-BE49-F238E27FC236}">
                <a16:creationId xmlns:a16="http://schemas.microsoft.com/office/drawing/2014/main" id="{655F7690-6512-7FDE-566D-9A2624E66453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gray">
          <a:xfrm>
            <a:off x="12306300" y="584993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14F582-9B0B-4C8E-AE45-1690352A14D0}" type="datetime'''''''''''''''''9''''''''0''''''''''''''''''''%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336F1154-F0F4-B1AF-6140-EA09044CFAAF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292F8AF9-BB55-E495-7136-66F0F4E21790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CA38AD78-E869-8298-86EF-0AA34B05F6EE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2327557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CA63-0732-49FF-CC5B-349F73C57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E66E73-60E5-4F7C-D79C-83512DAB85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066815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4" imgW="7772400" imgH="10058400" progId="TCLayout.ActiveDocument.1">
                  <p:embed/>
                </p:oleObj>
              </mc:Choice>
              <mc:Fallback>
                <p:oleObj name="think-cell 幻灯片" r:id="rId12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AD87405C-6148-DF03-E02A-A5AB2D070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80617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低频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D81CEE19-13CE-5CA1-DB9B-A83ED6E486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194709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6C28496B-50D8-03BF-D48C-2A37896F9EF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14338" y="5011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FC2CADBF-FFA3-EBC4-3806-C31D114396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5902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AEE7EBDD-FC25-3C70-AD00-B9AB3180513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722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0008AA-CBEE-5123-84AD-7B2D22FF93E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3E344637-1E40-C237-838F-BF45E91D0CA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4819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645DACF-BE2D-6C70-4FF7-E15E2121611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4994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3B2A741B-3334-04C8-841D-271CAAFE7C7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5878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7245006F-D56F-6F95-2E52-704E5642F6C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F01893BE-E230-5A68-11E0-FDD6F59B32C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287802-6F97-BFBD-C95C-5E94D984C4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83235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3ADB70EF-8173-4412-6D39-0D01F988427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038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CE54FD73-4668-B5CB-87DF-ABC902F2896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4867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F3F2E9A9-6F6F-394C-6C1E-9362274192D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46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3382B73A-0253-E860-FE15-168FD2AE517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2BEA0BD-AE65-48F7-CC4E-F2BE923AF74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445125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05B8C89A-F642-9517-3A2D-41B3BBD5928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936875" y="571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2F04603A-9D70-89E8-E994-BAC86B9852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23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2F45E43D-2705-61F9-E41F-FFBF3411DA1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706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CF975FE9-31D4-D108-6EDB-F5CCD043205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B8D948-054E-F494-EE2E-59037DA9E8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21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A266FD-F8AD-B88E-07AD-41CBE457436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3338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CB88BA3-BCAE-D1E3-D2C6-0E8C0E8A6EE5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DF60706-4E88-94CA-2A19-CFDC0B88029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64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925</a:t>
            </a:fld>
            <a:endParaRPr kumimoji="1" lang="zh-CN" alt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FD3DD550-A428-87B4-17DA-0AA8D6FBB6D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2566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F412661-A388-F2A1-13EF-A8A741E7AB1A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86075033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A4CD8922-B7BF-3385-5532-1A8926649A4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633788" y="5780088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07D01D13-20EC-40B0-2816-B84A9203E54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679825" y="6354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E28F6-0830-4ECB-A6FF-BCCE71575ADD}" type="datetime'80''''''.7''''''''''''''''''''''%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55976727-28D9-3204-F7F1-FBB15DACF336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F3388-5B75-4FFF-95B8-CC4391E9189D}" type="datetime'''5''''''''''''''''.''0''''''''''''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036448C9-D633-01C1-EE0A-782BB682AB5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8804F84-D44A-2B47-9260-11623F6583A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81330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279FB-E380-4117-B6DB-B8085B080261}" type="datetime'''''''''1''4''''''''''''''''''''''''''''''''''''.''''1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1008CB5B-3179-70C0-7261-742688EBEF8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1133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FB3D68-BBF3-4F3E-946C-C62C77763750}" type="datetime'6''''''''''''.''4''''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B8D0D441-01B8-D11D-396A-DAE28F5C8FC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5838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6EA33-3EC0-4922-94C4-8D2457AE5D8C}" type="datetime'7''''3''''''''''''''''''''''''''.''''''''5%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63919F68-E376-975A-FB94-84E70ABE8513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19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AA7C9-BD5C-40A4-966C-159C76AD541E}" type="datetime'''''''''''''''6''.''''''''''''0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ED8B8ED6-9784-D1BC-818E-FABE0B3FD5A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C8BB82BD-4346-5E17-54F7-9647C031893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4986338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13B2A2-CC57-4377-8539-E914420EEAA6}" type="datetime'''''''''13''''''''''''.3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B3884C7-0B32-0E15-7497-01DC6FBB669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2832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73B9-305B-420B-ABAA-03C3C26F0C36}" type="datetime'''5''''''''''''''''''''''''''''''.''''7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66B043B5-9BF8-A0BF-6FAA-17A1A8CCDB7A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151438" y="59483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3601CB-E065-40D8-AABE-7DC8A46DCD1E}" type="datetime'''''''''''7''''''''4''''''''.''''''9''''''%''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F56E666-E0BC-CAB4-1F81-05A5034757D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551238" y="581818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4A0696-C7C4-4AD6-BFDC-A0516ECC01FC}" type="datetime'''''''''''8''''''''''''''''''''''''''''''''.''4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ACD8A098-CF08-70D4-130E-872CBD904F72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FF26773-EF27-271B-D686-DEDF83FE02CC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842000" y="582453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FCD74-3476-4F26-BCB3-B34C18C32231}" type="datetime'''''''6''''''.''''''''''''''''0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8999B27-214A-F0A5-2BDB-C1191370392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5992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BA56C9-7953-4B5C-BF63-B4CEB65FB74D}" type="datetime'3''''''''''''.6''''''''''''''''''''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5D462CC0-FE87-C25B-C201-445D87A94E8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3134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336FB5-4BE5-40DE-AE66-21FC510CD5D4}" type="datetime'''''''8''''5''''''''''''.''''''''''''''''''''''''''5%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BEFBC97F-4FCB-5EA9-0FDD-38D053351B7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6C3653C0-49BB-729B-129E-7B999B9B9EC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DA4AAAAB-56F1-FF26-8A07-47369012F9A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588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A9F12-EC0D-4C21-9DE6-B1A19DDA5957}" type="datetime'''''''''''''''''''5''''''''''''''1''8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8</a:t>
            </a:fld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BB3D4CCC-8D9B-FA45-3FB3-6FA41134496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581400" y="60483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CF432-BB00-4428-84A3-4E8735A36F46}" type="datetime'5.''''''''''''''''8''''''''%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endParaRPr lang="zh-CN" altLang="en-US" sz="10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33483951-02AF-7C14-8FC1-35F1589BE8E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230688" y="44227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7DF9-CCED-461D-968B-9BE5AD04D7CB}" type="datetime'12''''''''''09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9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4C025C59-5B73-8091-03DD-88277AF6602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076825" y="47117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43894-8B82-489E-8D21-C33C647CF060}" type="datetime'''''''''''''''''1''''0''''''''''''''''51''5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15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A18716A0-AFB4-64BB-42DA-45FBAC77E14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967413" y="56483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68C04-F69E-4946-A73C-135B54285D4E}" type="datetime'''5''''''''4''1''''''''''''''''''''''''''''''0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0</a:t>
            </a:fld>
            <a:endParaRPr kumimoji="1" lang="zh-CN" altLang="en-US" sz="1400" dirty="0"/>
          </a:p>
        </p:txBody>
      </p: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528AA85D-67C1-AEBC-F42B-17F970E974C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184775" y="6727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ACDDB-26A8-4E53-8B86-27B1AFC4ADCF}" type="datetime'''6''''''''''''''.''''''''''''''''''''''''''0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AA799DC8-FA17-990A-4270-6AB5CAC2E060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098376836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14142F3-D8F1-B5C9-7163-0BA927E0B07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581775" y="5297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E5200A-E946-4EB9-923F-BF038C360DB8}" type="datetime'''''7.''8''%''''''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8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069E9E9-AD0F-94F0-AF89-DEE57BBDC9D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581775" y="6043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3345A-A3A2-470A-8F1E-7A36735B4B8A}" type="datetime'''''''''''''''''''''''''''7''3''''''''.''3''''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185D6916-9E09-3D87-C359-A3B1DD21448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581775" y="67500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77253-2E24-4B31-BC18-02C80F12DBC4}" type="datetime'3''''''''''''''''''.''''''3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43BBE557-963E-839D-0127-2C13F8F814F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33412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9B740FE-9960-F52A-04F6-54939011DEE7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389813" y="5010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54B586-E096-4E28-98AC-03A07A738D59}" type="datetime'''''''2''''''''''''0.''''''''''''''''''''7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77DCCEC7-DD78-D843-E92E-0407B29D0F7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386638" y="51625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8A69B-8B8E-41DA-8A47-05EEDE0C7A05}" type="datetime'''''''''5''''''''''''''''''''''''''''''''''''.6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D0274F3B-E7A8-60AD-E089-B82B21CAE0B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61841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11FC23-17C3-469D-B05E-C301E5A86370}" type="datetime'''''6''''3''''.''''''''''''5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FC5DA03-4E8A-8689-1551-C35126D72BD1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353300" y="6673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047F4-388C-4804-AC49-A8EF3E708AD9}" type="datetime'1''''''''''0''''''''''''''.2''''''''''''''%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65145705-22DE-D5C3-65D3-B9E8551C8D3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326313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CF92B002-BBB5-FF37-E4A7-C00EE042345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380413" y="5186363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7CA91-22FE-45C4-BB11-80D1946C70A7}" type="datetime'''''''''''''''''''6''''.''3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D917095-0FDF-75A8-6C60-6E53F5B0CF9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393113" y="5356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E49152-59CE-47ED-8EBD-FF128A5BADC5}" type="datetime'''''3''''''''''.''''''''''''''''''''''''''''2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09EF8530-3C1C-1A27-8D59-7FEE43EE220B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581775" y="508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32DF9-1DC0-4FE2-86FF-021BA40D98A6}" type="datetime'''1''5''''''''''''''.''''''''''''''''6''''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9523C459-40C9-3DB9-647B-DF51B0FF738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380413" y="6757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6F97-1E84-437F-9389-00F2B6526982}" type="datetime'3''''''''''''''''''''''.''''''''''''''''0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DB9331E8-3FA9-0D6E-270A-D076CEC4E88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320088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79AB3370-7A34-0668-8068-984990137ADA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183688" y="5207000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C67ED8-0918-4452-BBDA-4B1F0E94DB1E}" type="datetime'''7''''''''.''2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EB7D1ED2-253B-8691-6D11-010E2788216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78925" y="5395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770405-57E8-4A32-8963-8F2262F0748C}" type="datetime'''''''5''''''''''''''''''.5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C6E7DE8B-D876-EE6F-0408-204F8EC7D34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6863" y="6154738"/>
            <a:ext cx="352425" cy="136525"/>
          </a:xfrm>
          <a:prstGeom prst="rect">
            <a:avLst/>
          </a:prstGeom>
          <a:solidFill>
            <a:srgbClr val="4A76C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EBE7DC-64AC-4C4A-A198-FB6073C719C9}" type="datetime'''''''''''''8''''4.''''''''''''''''''''''''3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17009DB2-3280-53E8-8D71-4901EAEBE0D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83688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3096D9E8-0193-4D98-D3A0-FD4824B4DFE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931227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CBF8A81E-E774-DF5F-E1CD-C2EE7DBB899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337300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D2220-8926-4EB3-8894-645EEA3C59CE}" type="datetime'''2''''''''''''46''''''''''''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68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B45FC45B-2699-2273-DDDC-3765F3BFE8E8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323138" y="4519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1B2927-F0ED-4F3B-8A60-C421404C3400}" type="datetime'''2''''''8''''''''''''3''1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CD6D7CE1-DEDB-879A-B6AB-6F83EAB0657F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8323263" y="4895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E05A96-85A6-4F9C-B407-226523A03785}" type="datetime'''''2''''''''''''''''''''20''''''''''''''5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5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5F1C986-21B0-5AA1-FAE3-6FAABBA00E8C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9248775" y="48783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1668D-58B7-4468-AB6C-F05689078419}" type="datetime'''''''2''''''''''''''''''''''1''''''''''''85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85</a:t>
            </a:fld>
            <a:endParaRPr kumimoji="1" lang="zh-CN" altLang="en-US" sz="14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31582AE8-DD0E-20B8-9DEB-C5E048C0AFF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402638" y="6130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3009B3-8B55-4002-839D-45AA50768E3B}" type="datetime'''''''''''''''''''''''''''''''8''7.''''5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7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id="{6F16B56C-F3C3-E7B0-9844-B9DFD71C2D50}"/>
              </a:ext>
            </a:extLst>
          </p:cNvPr>
          <p:cNvGraphicFramePr/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494103012"/>
              </p:ext>
            </p:extLst>
          </p:nvPr>
        </p:nvGraphicFramePr>
        <p:xfrm>
          <a:off x="10044113" y="4433888"/>
          <a:ext cx="5975350" cy="250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1E5A460B-1542-CC33-3FA9-42331916D157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H="1">
            <a:off x="15587663" y="581025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直线连接符 828">
            <a:extLst>
              <a:ext uri="{FF2B5EF4-FFF2-40B4-BE49-F238E27FC236}">
                <a16:creationId xmlns:a16="http://schemas.microsoft.com/office/drawing/2014/main" id="{24A5D1F9-C4C2-AD8D-1E7C-5B4659286C3B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V="1">
            <a:off x="14120813" y="57261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BC89FDAB-592F-89FA-CEB2-4C1F5A3251EC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 flipV="1">
            <a:off x="10490200" y="57197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30B193A8-2705-C190-AE9F-8DC8D20917C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0313988" y="57594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8DD23-0A78-448B-AD1F-1F1021C5BA23}" type="datetime'''3''''''''''''7''''''''''''''''''.''''''''''''''1%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414DF20-EF16-1A68-F3F3-4A628DFC7926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20445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599FEF3E-F0AC-CCDD-FBB9-2B29AEA8F0C5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929938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647EC788-2279-1A16-DBBF-C19BC643923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1996738" y="542925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1C448F-A658-42C2-BB03-FEFC6C969913}" type="datetime'''''''''''4''''''''''''''9.5''''''%'''''''''''''''''''">
              <a:rPr lang="zh-CN" altLang="en-US" sz="10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26D71F32-6455-5690-B676-01AFE994209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734800" y="4406900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0FC79A-EBAA-4312-AE91-8B090BAFD368}" type="datetime'1''''''''''''''0''''''''''''''''''''''3''.''''2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.2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046DA61A-377F-8BC0-3607-1AAC16A8B5F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766550" y="6129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3D266-E97B-464E-91D5-5341DEE1AB88}" type="datetime'''15''''''''''''''.1''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1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ABB74B38-B999-E253-C6BF-FADDD3CCB55D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766550" y="5773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762C8-0FB0-45E8-933D-A11C5CA77BC4}" type="datetime'''''''''''''''''''''''''''''''''''''''''''''3''''6.''''''2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490C3A49-C340-1A72-8295-D73495143A7C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1657013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E6F8851E-C825-794E-DDDF-EBCB25DFF316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2492038" y="5060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39DDF-4B2F-4BA8-A40B-F35C145B2D0B}" type="datetime'''''''''''6''''''''''''''''''4''''''''''.''2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2C336068-BFCC-5BA7-4E72-98368DDF1C0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1238250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6E835EA2-65F7-C79E-1FBF-C6B0B218C45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0313988" y="544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3E37BB-FDD6-4895-813D-DD4F9769E585}" type="datetime'4''''''''1''.''''''''''''''''''5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66" name="文本占位符 2">
            <a:extLst>
              <a:ext uri="{FF2B5EF4-FFF2-40B4-BE49-F238E27FC236}">
                <a16:creationId xmlns:a16="http://schemas.microsoft.com/office/drawing/2014/main" id="{21770BC6-C4F4-0980-F349-89E6E1FA64B7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3944600" y="5256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69258-B485-4F26-9151-DC41EDA003C2}" type="datetime'''''''''''''5''''''2''.''''''''6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11" name="文本占位符 2">
            <a:extLst>
              <a:ext uri="{FF2B5EF4-FFF2-40B4-BE49-F238E27FC236}">
                <a16:creationId xmlns:a16="http://schemas.microsoft.com/office/drawing/2014/main" id="{32B5E470-242F-5934-709B-609CA77704E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912850" y="4327525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5EE67-3E89-4FB7-8F44-20BEA7308563}" type="datetime'''''''''''''''1''''0''''7''''''''''.''''''''''''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4655D4DD-A0DF-1A3B-F782-8BCE40C03E8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944600" y="57658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5B462-CD7B-494F-8142-6194050505AE}" type="datetime'''''''''''3''''''''''6''''''.7''''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2C4175E6-469C-35BE-D142-F354A47A738B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0313988" y="491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3ACE5E-C194-4254-ABC3-7C4D60E630DA}" type="datetime'''''''''73''''''''''''''.''''''''''''0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/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C8058F64-4230-F84A-6E96-7C63E65A998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3981113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34183C35-4981-C972-1DDB-619FA61CD4E5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4708188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C577AB46-52F3-7FDB-D152-AB747334C3E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28938" y="57356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BE9CDC-EB23-4CA9-B44B-FD3C19F2FEBD}" type="datetime'''3''''''''''''''0''''''''''''''.9''''''''%''''''''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1B3EFA70-AA13-F7B0-1247-8336548D6E5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0313988" y="5969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B83FD-7D57-489B-AC43-DB62A9221077}" type="datetime'''''''''''2''''''4.''''6''''''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421F72F7-CF2E-6230-B242-DFE58620561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628938" y="6396038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1746A-FC90-48E6-83BE-8F29EA0C9128}" type="datetime'''''''''''''''''''''''''''-''8''''''''''''''''''.''''''5''%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8.5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745" name="文本占位符 2">
            <a:extLst>
              <a:ext uri="{FF2B5EF4-FFF2-40B4-BE49-F238E27FC236}">
                <a16:creationId xmlns:a16="http://schemas.microsoft.com/office/drawing/2014/main" id="{43A48B09-95B3-3E89-6597-85EE57C02344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378113" y="5280025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CA54F-A5A5-4A60-9B92-1503FF7E98CF}" type="datetime'''5''''''''''0''''''''''''.''''''2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2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A4AC409A-5643-BEFE-D8EA-71AAFAE4E9E6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5378113" y="593248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5A70C1-7E5A-4C40-BF30-B0761A92193A}" type="datetime'''''''''''''''''''''26''''''''''''''''''''''.''''''''9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7C04A12B-D2AB-D48E-878F-88140334BABA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5287625" y="691356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F2762C8-3479-8F00-5DD3-78E6D757CD11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3255625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C063342D-891E-615D-2260-DA7C8E9AD6B1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14387513" y="7983538"/>
            <a:ext cx="51435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3B80C3B0-BFF4-9C45-5168-366797AA957F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10345738" y="7983538"/>
            <a:ext cx="514350" cy="0"/>
          </a:xfrm>
          <a:prstGeom prst="line">
            <a:avLst/>
          </a:prstGeom>
          <a:ln w="28575" cap="rnd" cmpd="sng" algn="ctr">
            <a:solidFill>
              <a:srgbClr val="E9163C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8C4ED754-9DED-7631-D807-21B44ED139F6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2980988" y="7983538"/>
            <a:ext cx="5143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3817CBD3-9D38-D239-879B-288C23785AA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11574463" y="7983538"/>
            <a:ext cx="51435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336DC485-2706-0C80-2567-1E6F03C7D4B3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0925175" y="7900988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96D5F810-A42F-F54B-9DF7-FF67F618D67C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2153900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7AC56826-1CD9-739B-1BFD-EFCAFEC1ECB0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4966950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37C266DE-F782-06CD-C263-055B3DDABD89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3560425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74BB22D3-2A21-FEB5-B30A-2BF3EB3A4D91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5883275" y="78263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A3056451-2874-F02B-0D93-A13044489724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2540000" y="782637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B468BF32-1735-67AF-ABE9-6B7484482DF2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4768850" y="7826375"/>
            <a:ext cx="250825" cy="187325"/>
          </a:xfrm>
          <a:prstGeom prst="rect">
            <a:avLst/>
          </a:prstGeom>
          <a:solidFill>
            <a:srgbClr val="4975C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EAE3B6A6-1E23-E7DA-76CE-7E2F1C4655E0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3654425" y="782637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5C80DAD4-038F-C836-34BE-A198BDEA488D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2841625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D496FC56-193C-DC81-6724-76EB4D3541D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3956050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7E6D5F0D-6954-BAF7-66FD-AA9A6B31120F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6184900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E72910B2-DAAD-0D70-0A1D-0C7128B85B30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5070475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CF0FDC70-E416-E69E-C8BC-B93CE00B7183}"/>
              </a:ext>
            </a:extLst>
          </p:cNvPr>
          <p:cNvSpPr txBox="1"/>
          <p:nvPr/>
        </p:nvSpPr>
        <p:spPr>
          <a:xfrm>
            <a:off x="2960893" y="3633758"/>
            <a:ext cx="45207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占比及总额（单位：</a:t>
            </a:r>
            <a:r>
              <a:rPr kumimoji="1" lang="en-US" altLang="zh-CN" sz="2000" b="1" dirty="0"/>
              <a:t>W</a:t>
            </a:r>
            <a:r>
              <a:rPr kumimoji="1" lang="zh-CN" altLang="en-US" sz="2000" b="1" dirty="0"/>
              <a:t>）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2FA71127-76E4-208B-912C-6519FBC86C77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EBE953DB-2EB2-90D1-8C24-D3ECBFFA5BD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DFECCCF-CBD7-A6EA-AF23-A2ADDEC73A77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E14503C8-78C4-1BB3-A399-016C269146CA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DD19CC65-E3B4-C5DB-E524-970E31FE1614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5B9290C7-5C45-139D-A1B6-FE5DB824F8D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A04E7FF5-93CE-15D2-FB66-56288B5213C2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C5944853-4C45-3E51-4696-3BD49EEC7A1B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EE064345-0DB3-DF98-09A3-4FE18B58D7AB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45768510-85A7-83EA-BBFD-AE8E3448540D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图片 190">
            <a:extLst>
              <a:ext uri="{FF2B5EF4-FFF2-40B4-BE49-F238E27FC236}">
                <a16:creationId xmlns:a16="http://schemas.microsoft.com/office/drawing/2014/main" id="{C3D88F9E-8DC1-767B-E508-F8A2CEEA1259}"/>
              </a:ext>
            </a:extLst>
          </p:cNvPr>
          <p:cNvPicPr>
            <a:picLocks noChangeAspect="1"/>
          </p:cNvPicPr>
          <p:nvPr/>
        </p:nvPicPr>
        <p:blipFill>
          <a:blip r:embed="rId130"/>
          <a:stretch>
            <a:fillRect/>
          </a:stretch>
        </p:blipFill>
        <p:spPr>
          <a:xfrm>
            <a:off x="16416813" y="4809671"/>
            <a:ext cx="5025866" cy="2927804"/>
          </a:xfrm>
          <a:prstGeom prst="rect">
            <a:avLst/>
          </a:prstGeom>
        </p:spPr>
      </p:pic>
      <p:sp>
        <p:nvSpPr>
          <p:cNvPr id="215" name="椭圆 214">
            <a:extLst>
              <a:ext uri="{FF2B5EF4-FFF2-40B4-BE49-F238E27FC236}">
                <a16:creationId xmlns:a16="http://schemas.microsoft.com/office/drawing/2014/main" id="{15E93FDA-3A96-7A4C-5E5C-3EDB9A9F8D96}"/>
              </a:ext>
            </a:extLst>
          </p:cNvPr>
          <p:cNvSpPr/>
          <p:nvPr/>
        </p:nvSpPr>
        <p:spPr>
          <a:xfrm>
            <a:off x="15561861" y="6302091"/>
            <a:ext cx="445168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7" name="椭圆 216">
            <a:extLst>
              <a:ext uri="{FF2B5EF4-FFF2-40B4-BE49-F238E27FC236}">
                <a16:creationId xmlns:a16="http://schemas.microsoft.com/office/drawing/2014/main" id="{39146DAE-143E-1EA7-0E8B-79328E7F7EF4}"/>
              </a:ext>
            </a:extLst>
          </p:cNvPr>
          <p:cNvSpPr/>
          <p:nvPr/>
        </p:nvSpPr>
        <p:spPr>
          <a:xfrm>
            <a:off x="15591431" y="5648325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DF4B20E3-5BEC-F9E2-A3CA-49574CD263EF}"/>
              </a:ext>
            </a:extLst>
          </p:cNvPr>
          <p:cNvSpPr/>
          <p:nvPr/>
        </p:nvSpPr>
        <p:spPr>
          <a:xfrm>
            <a:off x="15361694" y="5911850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65951B3C-6E09-B659-5409-5DA9AFA4BF5E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9224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F03AF-03C5-677B-6714-53F7999AF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A01008-F5DD-A058-7356-9678D2A6A0A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747392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0" imgW="7772400" imgH="10058400" progId="TCLayout.ActiveDocument.1">
                  <p:embed/>
                </p:oleObj>
              </mc:Choice>
              <mc:Fallback>
                <p:oleObj name="think-cell 幻灯片" r:id="rId1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953F9E55-C38B-332D-BA89-8D3C032AE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078929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>
                          <a:solidFill>
                            <a:schemeClr val="accent2"/>
                          </a:solidFill>
                        </a:rPr>
                        <a:t>渠道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sp>
        <p:nvSpPr>
          <p:cNvPr id="928" name="文本框 927">
            <a:extLst>
              <a:ext uri="{FF2B5EF4-FFF2-40B4-BE49-F238E27FC236}">
                <a16:creationId xmlns:a16="http://schemas.microsoft.com/office/drawing/2014/main" id="{F93E0E1D-F336-2B83-E8D7-BF459CBE39C4}"/>
              </a:ext>
            </a:extLst>
          </p:cNvPr>
          <p:cNvSpPr txBox="1"/>
          <p:nvPr/>
        </p:nvSpPr>
        <p:spPr>
          <a:xfrm>
            <a:off x="3649776" y="3637697"/>
            <a:ext cx="3312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分渠道收入趋势</a:t>
            </a:r>
            <a:r>
              <a:rPr kumimoji="1" lang="en-US" altLang="zh-CN" sz="2000" b="1" dirty="0"/>
              <a:t>&amp;</a:t>
            </a:r>
            <a:r>
              <a:rPr kumimoji="1" lang="zh-CN" altLang="en-US" sz="2000" b="1" dirty="0"/>
              <a:t>占比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B2A87388-C508-6B93-E0FB-A8E05772D84A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渠道收入</a:t>
            </a:r>
            <a:r>
              <a:rPr kumimoji="1" lang="en-US" altLang="zh-CN" sz="2000" b="1" dirty="0" err="1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8E01341-87C2-05C3-AFE1-C5A4C70B910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754D43D-61DB-4B3F-6619-B7046DDE9242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95EBD70-6CF0-73F6-A48B-CDA28E47E8B3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4FB60646-5545-FB73-B8D0-E4C3D5427A50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3600FE64-0488-5B30-376D-93D98DD5F33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329326FF-F9E4-2DB5-CCFD-0DF39BDFB603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A6254B29-65F9-8724-8E35-90ACA5A7F47E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88261F41-7DBC-EF34-B826-03268589E4A8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5781C4BB-3F24-7F47-D5A2-BBDBED55D93B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椭圆 214">
            <a:extLst>
              <a:ext uri="{FF2B5EF4-FFF2-40B4-BE49-F238E27FC236}">
                <a16:creationId xmlns:a16="http://schemas.microsoft.com/office/drawing/2014/main" id="{9681BE5F-1354-905C-AB3A-C2FC0DAF3B0F}"/>
              </a:ext>
            </a:extLst>
          </p:cNvPr>
          <p:cNvSpPr/>
          <p:nvPr/>
        </p:nvSpPr>
        <p:spPr>
          <a:xfrm>
            <a:off x="15499194" y="5580146"/>
            <a:ext cx="445147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C5668816-7709-7801-8038-E2548DFBF0B6}"/>
              </a:ext>
            </a:extLst>
          </p:cNvPr>
          <p:cNvSpPr/>
          <p:nvPr/>
        </p:nvSpPr>
        <p:spPr>
          <a:xfrm>
            <a:off x="15563612" y="6086049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8F0D58CF-AB7A-DF0B-8607-6E1A56DFC340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DF3BC7AC-E89F-5669-E910-DB221AC7314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329165"/>
              </p:ext>
            </p:extLst>
          </p:nvPr>
        </p:nvGraphicFramePr>
        <p:xfrm>
          <a:off x="574675" y="4600575"/>
          <a:ext cx="2686050" cy="241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A6704DE-31C5-EE48-0C0B-5DFE71CE380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01675" y="5278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A8B608-C1F8-4D2D-A752-34F615AFBB24}" type="datetime'''''31''.''''''''''''''2%'''''''''''''''''''''''''''''''">
              <a:rPr lang="en-US" altLang="en-US" sz="1000" smtClean="0">
                <a:ea typeface="等线" panose="02010600030101010101" pitchFamily="2" charset="-122"/>
              </a:rPr>
              <a:pPr/>
              <a:t>31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992403-0DA2-6D5F-56C0-040DA0C474B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01675" y="6223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71EAC3-C0ED-4169-B0E1-94CFB0B89B6B}" type="datetime'6''''''''''''''''7.2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B3130634-092E-6CD5-E179-7AA71A61BE0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07988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ACF3B4-5D11-4FF6-A6CA-B31BCAD037D2}" type="datetime'F''''''Y''''''''26''''''''''''Q''''''''2'''''''''''''''">
              <a:rPr lang="en-GB" altLang="en-US" sz="1200" b="1" smtClean="0"/>
              <a:pPr/>
              <a:t>FY26Q2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670847-499C-2090-2332-A2F5515A834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6200" y="4967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08EED4-CAF0-4D31-87A0-ECCB95801865}" type="datetime'''''''''1''''''''''''''''''''''.''''''''''''8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C6E3ADB-D94B-4293-7B6C-6E414542410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0800" y="5222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C788C-7AFB-423D-BA8C-1773B4F7B1B6}" type="datetime'''''''''''''3''''1.''''3%'''''">
              <a:rPr lang="en-US" altLang="en-US" sz="1000" smtClean="0">
                <a:ea typeface="等线" panose="02010600030101010101" pitchFamily="2" charset="-122"/>
              </a:rPr>
              <a:pPr/>
              <a:t>31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E6E206-D7BA-4760-6034-5B9B482751C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0800" y="6200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24B0A4-4974-4197-9444-9CC10D9C6094}" type="datetime'''''''''''''''''''6''''''''''''''6''''''''''''''.9''''''''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0E7A0CBD-E166-E7D4-5786-C475DFCB0CF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47775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09F20F-DFB8-47AD-805B-BB5DD0C3FD19}" type="datetime'F''''''''Y''''''''''''''''''''''2''''''6''''''''Q3'">
              <a:rPr lang="en-GB" altLang="en-US" sz="1200" b="1" smtClean="0"/>
              <a:pPr/>
              <a:t>FY26Q3</a:t>
            </a:fld>
            <a:endParaRPr lang="zh-CN" altLang="en-US" sz="12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B5350D7-7994-1320-AA5C-28E13BF53D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89163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F80F40-C84E-4384-8B89-EF1B66925C74}" type="datetime'''''''''1.''''''''''''''''''''7''%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0AC25B-82A0-59BE-D87C-54F17296D05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62175" y="523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688FA8-0E93-4EF9-9C35-7CD53E8AA117}" type="datetime'''3''''''4''''''''''''''''''''''.''''''1''%'''''">
              <a:rPr lang="en-US" altLang="en-US" sz="1000" smtClean="0">
                <a:ea typeface="等线" panose="02010600030101010101" pitchFamily="2" charset="-122"/>
              </a:rPr>
              <a:pPr/>
              <a:t>3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F20F936-1D5A-EF97-D063-53412DFECB0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46100" y="5018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DBCB4-68CB-41E9-822E-FB8C2B1FD398}" type="datetime'''''1.''''''''''''''''''''6''%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E68F49FA-B112-8E8A-CB82-022399727B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89150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60367-DCF1-42E5-9FFC-0D00827A2889}" type="datetime'''''''''''FY2''6''''Q''''''''''''''''''''''''''4'''">
              <a:rPr lang="en-GB" altLang="en-US" sz="1200" b="1" smtClean="0"/>
              <a:pPr/>
              <a:t>FY26Q4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842B2F-9C97-9E52-EF3E-4EAF05D975D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944813" y="5772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7FAD70-2E43-4EBD-B7D0-F125CA4A9B2B}" type="datetime'''''''''1''.''''''''9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F36BB9-6D81-E87F-BE39-D81722122AA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74963" y="595630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0A1E76-450A-4FDC-BF50-491ACCAC83F4}" type="datetime'''3''''''''''''''''''''''1''''''.''''''''''''''''''''6%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1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77B48D-4532-6D81-EEFA-C7E4704E110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81300" y="6470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389C54-5F92-448C-9E1D-BE525245FF64}" type="datetime'6''''''6''''''''''''''''''''''.''''5''''''''%''''''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9100BF36-0F22-3774-E62F-60F5F816156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62263" y="69865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7DB57-C163-4F5B-BE23-E97DA545EF65}" type="datetime'''''''''''''''F''''Y''''''''''27''Q''''''''1td'''''''">
              <a:rPr lang="en-GB" altLang="en-US" sz="1200" b="1" smtClean="0">
                <a:ea typeface="等线" panose="02010600030101010101" pitchFamily="2" charset="-122"/>
              </a:rPr>
              <a:pPr/>
              <a:t>FY27Q1td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26F8AF-6338-7EBA-5A82-423F5F49995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06400" y="48021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28221-B01C-4A4A-B7A6-A0CC2A2BDE0A}" type="datetime'''''''''''''''''2''''''''''''5''''''5''''''6''''''''8'''''''">
              <a:rPr kumimoji="1" lang="zh-CN" altLang="en-US" sz="1400" smtClean="0"/>
              <a:pPr/>
              <a:t>25568</a:t>
            </a:fld>
            <a:endParaRPr kumimoji="1" lang="zh-CN" altLang="en-US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34E47AD-8A63-5F45-D426-B6844643F12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46188" y="47291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AB1253-E1C2-4817-8187-FB8060F60AF5}" type="datetime'26''''''''5''''''''''3''''4'''''''''''''''''''''">
              <a:rPr kumimoji="1" lang="zh-CN" altLang="en-US" sz="1400" smtClean="0"/>
              <a:pPr/>
              <a:t>26534</a:t>
            </a:fld>
            <a:endParaRPr kumimoji="1" lang="zh-CN" altLang="en-US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A3454C3-C249-D325-B8A8-1C423B4455C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87563" y="47164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ABC857-B29E-4C81-B526-D7F356851B9D}" type="datetime'''''''''''''''''''''''''''''2''''6''''''''''''''70''''''6'''">
              <a:rPr kumimoji="1" lang="zh-CN" altLang="en-US" sz="1400" smtClean="0"/>
              <a:pPr/>
              <a:t>26706</a:t>
            </a:fld>
            <a:endParaRPr kumimoji="1" lang="zh-CN" altLang="en-US" sz="1400" dirty="0"/>
          </a:p>
        </p:txBody>
      </p:sp>
      <p:sp useBgFill="1">
        <p:nvSpPr>
          <p:cNvPr id="31" name="Text Placeholder 2">
            <a:extLst>
              <a:ext uri="{FF2B5EF4-FFF2-40B4-BE49-F238E27FC236}">
                <a16:creationId xmlns:a16="http://schemas.microsoft.com/office/drawing/2014/main" id="{D25FBBA5-836A-3DC2-F0D6-249DF2533D8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927350" y="55245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1F75A2-63F8-4EE8-B388-85D0774D7112}" type="datetime'''''''''''''''''''1''''''''''59''3''''''''6'''''''''''">
              <a:rPr kumimoji="1" lang="zh-CN" altLang="en-US" sz="1400" smtClean="0">
                <a:effectLst/>
              </a:rPr>
              <a:pPr/>
              <a:t>15936</a:t>
            </a:fld>
            <a:endParaRPr kumimoji="1" lang="zh-CN" alt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9B8C432-5AB9-B524-FD1A-0886D2015F0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62175" y="6224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368A9-682A-4E42-9AB3-A901473248D0}" type="datetime'64''''''''''''''''''''''''''.''''''''''2''''%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4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38120B3-C423-729B-700F-0BE10B49057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000500" y="79819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E432AB2-15C8-9C19-F321-CA90D781653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59325" y="79819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98F42187-5846-621C-711E-2404BD330C0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18150" y="798195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5DCBD9F-B88A-0079-3973-E86A46DADD1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30212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6CBDA9-93F8-4988-8790-F8D675855080}" type="datetime'''''''电''''销''''''''''''''''''''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7C01C8E-62B2-F952-671C-E00CAF9F311C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060950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F26A78-5480-4B13-9753-01F1FB1292CF}" type="datetime'''''''''''渠''''道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D012AA1-3377-3818-FD5F-ECC74CBD603A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81977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CBDE65-158B-40C5-9C64-6CEB253F37BF}" type="datetime'''''''''直''''''''''''''''''''''''''''''''''''营''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4D06155E-A893-F2DE-71CF-4FA6B77F8DE3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00500830"/>
              </p:ext>
            </p:extLst>
          </p:nvPr>
        </p:nvGraphicFramePr>
        <p:xfrm>
          <a:off x="3563938" y="4814888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89EF81C-0989-82F7-2CB4-1C9004A08E4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584575" y="62722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0F6F07-BBDC-4FAC-BAD0-CB8DC1F8AFFB}" type="datetime'''3''''''2''''''''.''''''''''''0''''''''''''%''''''''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71CD0E0-8BE6-6169-BEEF-C27281BD4C5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690938" y="657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81B3-1302-42A0-9CCB-578606E79FD0}" type="datetime'''''''6''6''''''''''''.''''''''''3''''''''''''%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8F0CB097-C20C-3247-66CB-D7BFDBBE75E7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525838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8F734-2B36-4E95-95D0-9D9712BB924F}" type="datetime'''''''''''''''''''''''''''2''''''''''''''''''''月'''''">
              <a:rPr lang="zh-CN" altLang="en-US" sz="1200" b="1" smtClean="0"/>
              <a:pPr/>
              <a:t>2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83370FC-E209-74F1-BB90-B3A2EE884B3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298950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30380D-B27E-4685-A1BE-6780FA70E718}" type="datetime'''''''''''1''''''''''''''''''''''''''''''''.8''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0C4463B-3B91-7ED0-9DDB-DF9E16EDB3A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295775" y="5370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81DED4-B964-40CD-8F34-2F13940A8135}" type="datetime'''''''''''''''''''''3''''''''''''''''''3''.''''''7%'''''">
              <a:rPr lang="en-US" altLang="en-US" sz="1000" smtClean="0">
                <a:ea typeface="等线" panose="02010600030101010101" pitchFamily="2" charset="-122"/>
              </a:rPr>
              <a:pPr/>
              <a:t>33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CE0D7CD-B803-DB0A-D3F6-178032E22BB4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278313" y="62103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2924-2A62-44E4-A4B8-1BC7358D0168}" type="datetime'''''''''6''''4.''''5''''''''''''''''''''''''''''''%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4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D77CA0B0-7892-8479-D1BD-EEA9FD7E47B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33875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C6CC9F-8BBF-4A3A-A87B-F830A80C4AA2}" type="datetime'''3''''''''''''''''''''''''月'">
              <a:rPr lang="zh-CN" altLang="en-US" sz="1200" b="1" smtClean="0"/>
              <a:pPr/>
              <a:t>3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2AF5C59-7F75-BE99-0CEF-36A09241CE3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18100" y="5211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6BECD9-A9D6-4E4E-8440-1B9B2F39CBE5}" type="datetime'''''''''''1''.''''''''''''''''''9''''''''''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047D625-30F7-682A-4DCA-2AE223F7FDB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087938" y="5534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D8F009-9C47-4FBB-9527-B563E9FFA3F3}" type="datetime'3''2''''.''''''''''9''''''''%'''''''''''''''''''">
              <a:rPr lang="en-US" altLang="en-US" sz="1000" smtClean="0">
                <a:ea typeface="等线" panose="02010600030101010101" pitchFamily="2" charset="-122"/>
              </a:rPr>
              <a:pPr/>
              <a:t>3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B00C870-823A-F30E-77F6-D3638BE881E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690938" y="6000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1938BA-CA4B-4A71-9C89-EB46E9006A6F}" type="datetime'''''''''''''1''.''''''''''7''''''''''''''''''%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12A76B99-D199-9545-8831-AC13F0E5739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5141913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65505-11F2-4CDA-88AE-760EC6DAF9FE}" type="datetime'''''4''''''''''''''''''''''''月'">
              <a:rPr lang="zh-CN" altLang="en-US" sz="1200" b="1" smtClean="0"/>
              <a:pPr/>
              <a:t>4月</a:t>
            </a:fld>
            <a:endParaRPr lang="zh-CN" altLang="en-US" sz="1200" b="1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FF8466C-3F39-3C84-BE18-A01FB4295A0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738813" y="59642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738169-BC8B-4E47-B6DE-3D84BE04188E}" type="datetime'''''''2''''''''''''.''''''''''''''''''0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392E1B9-A754-8C5D-19D8-A35F5047EED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673725" y="61055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309F63-97FE-4C84-A350-FAF830342405}" type="datetime'''''''''''''''''''''2''''''''''''''9.''''0''''''%'''">
              <a:rPr lang="en-US" altLang="en-US" sz="1000" smtClean="0">
                <a:effectLst/>
                <a:ea typeface="等线" panose="02010600030101010101" pitchFamily="2" charset="-122"/>
              </a:rPr>
              <a:pPr/>
              <a:t>29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3C30A1B-2DBB-67EE-15CA-18AFEEBF6AD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673725" y="6553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D9D58-2FCB-48A0-A7DE-63AE9D27CBE1}" type="datetime'''''''''''''6''9''''''''''''''''''''.''0''''''''''''''''%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9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8" name="文本占位符 2">
            <a:extLst>
              <a:ext uri="{FF2B5EF4-FFF2-40B4-BE49-F238E27FC236}">
                <a16:creationId xmlns:a16="http://schemas.microsoft.com/office/drawing/2014/main" id="{ED9CF126-E767-515C-DE63-987D223BB8E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883275" y="6986588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E25C49-0500-4716-AE62-5F51F2506183}" type="datetime'5''月t''''''''''''''''''''d'''''''''''''''''''''''''''''''">
              <a:rPr lang="zh-CN" altLang="en-US" sz="1200" b="1" smtClean="0"/>
              <a:pPr/>
              <a:t>5月td</a:t>
            </a:fld>
            <a:endParaRPr lang="zh-CN" altLang="en-US" sz="1200" b="1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7E513178-5C83-E868-06AD-3E56B0DF1392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3440113" y="58467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5E6B65-1D6C-4A83-875C-AAFBA47ED966}" type="datetime'5''''''''''''''''''''1''''''92'''''''''">
              <a:rPr kumimoji="1" lang="zh-CN" altLang="en-US" sz="1400" smtClean="0">
                <a:effectLst/>
              </a:rPr>
              <a:pPr/>
              <a:t>5192</a:t>
            </a:fld>
            <a:endParaRPr kumimoji="1" lang="zh-CN" altLang="en-US" sz="14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3E0C24-8551-3ECD-3E33-5555BE82F651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203700" y="46831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5AC2D-C791-4758-BF0B-DFD7B06127AB}" type="datetime'1''''''''''''''''''''''''''''''''''''2''''''''''''''''1''''00'">
              <a:rPr kumimoji="1" lang="zh-CN" altLang="en-US" sz="1400" smtClean="0"/>
              <a:pPr/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E64BC236-5D26-D74F-521F-D0573723ED2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011738" y="494982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4712F-C598-448C-9509-33368637DEAC}" type="datetime'''''1''''''''''''''''''''''''''''0''''''''''''''''''5''20'''''">
              <a:rPr kumimoji="1" lang="zh-CN" altLang="en-US" sz="1400" smtClean="0">
                <a:effectLst/>
              </a:rPr>
              <a:pPr/>
              <a:t>10520</a:t>
            </a:fld>
            <a:endParaRPr kumimoji="1" lang="zh-CN" altLang="en-US" sz="1400" dirty="0"/>
          </a:p>
        </p:txBody>
      </p:sp>
      <p:sp useBgFill="1">
        <p:nvSpPr>
          <p:cNvPr id="129" name="Text Placeholder 2">
            <a:extLst>
              <a:ext uri="{FF2B5EF4-FFF2-40B4-BE49-F238E27FC236}">
                <a16:creationId xmlns:a16="http://schemas.microsoft.com/office/drawing/2014/main" id="{290AD6A4-B79E-4CE1-CE6C-9894CD211F0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5864225" y="58086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E1983B-2FF6-41F8-92CD-3D71ADF19A48}" type="datetime'''''''''''''5''''''4''''''''''''''1''''''''''''''6'''''''''''">
              <a:rPr kumimoji="1" lang="zh-CN" altLang="en-US" sz="1400" smtClean="0">
                <a:effectLst/>
              </a:rPr>
              <a:pPr/>
              <a:t>5416</a:t>
            </a:fld>
            <a:endParaRPr kumimoji="1" lang="zh-CN" altLang="en-US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6AEA529-53C0-7C9E-6303-171D4EE7396E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086350" y="6289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DE2F93-5BA1-4001-9DDE-1C22D3D51215}" type="datetime'''''''6''''5''''.''''''''''''''''''''''2''''''''''''''%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5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E0792A8E-3798-AC20-CFD9-58E301A5D1BD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864211662"/>
              </p:ext>
            </p:extLst>
          </p:nvPr>
        </p:nvGraphicFramePr>
        <p:xfrm>
          <a:off x="6410325" y="4814888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cxnSp>
        <p:nvCxnSpPr>
          <p:cNvPr id="134" name="直线连接符 133">
            <a:extLst>
              <a:ext uri="{FF2B5EF4-FFF2-40B4-BE49-F238E27FC236}">
                <a16:creationId xmlns:a16="http://schemas.microsoft.com/office/drawing/2014/main" id="{72D5280F-8048-310A-1698-7F2A7981726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8281988" y="5364163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59FC15-511A-B226-1E70-F3F799AEF9F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537325" y="6307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FAB5DE-C2E9-4B42-94B4-DD96F2A170B4}" type="datetime'''''''''''''''63''.''''''''1''''''''''''''''''''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3.1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7" name="文本占位符 2">
            <a:extLst>
              <a:ext uri="{FF2B5EF4-FFF2-40B4-BE49-F238E27FC236}">
                <a16:creationId xmlns:a16="http://schemas.microsoft.com/office/drawing/2014/main" id="{75A0FE3E-B59D-BEA2-E4B6-C3FE202C689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289675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45D00-F677-41D2-AD45-F0099BFA06C3}" type="datetime'''''''m''''''4''''''''''w''''''3'''''">
              <a:rPr lang="en-GB" altLang="en-US" sz="1200" b="1" smtClean="0">
                <a:ea typeface="等线" panose="02010600030101010101" pitchFamily="2" charset="-122"/>
              </a:rPr>
              <a:pPr/>
              <a:t>m4w3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FD1FFF51-5BD0-4C05-207B-1892E5016F61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246938" y="49704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850C1F-CBAD-4DCC-A0D0-BAA5EBA26406}" type="datetime'''1''''''''''''''''''.''''''''''''''''5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0543B9F-ADF3-57BE-DF77-6DCF72ABF52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227888" y="5414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8FCC64-E057-4E12-A17B-25F0D0AD85C1}" type="datetime'''''''''''''''''''3''''''''''''8.6''''''''''''''''''''''%'">
              <a:rPr lang="en-US" altLang="en-US" sz="1000" smtClean="0">
                <a:ea typeface="等线" panose="02010600030101010101" pitchFamily="2" charset="-122"/>
              </a:rPr>
              <a:pPr/>
              <a:t>38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0631504-A3A2-9D0D-B221-2AD26F90EB9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210425" y="6257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E72DA5-961B-4158-8AB3-601C39D77BF1}" type="datetime'''5''9''''''.''''9''''''''''''''''%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59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1" name="文本占位符 2">
            <a:extLst>
              <a:ext uri="{FF2B5EF4-FFF2-40B4-BE49-F238E27FC236}">
                <a16:creationId xmlns:a16="http://schemas.microsoft.com/office/drawing/2014/main" id="{9F0E5EBF-1FEE-80BE-31B2-94F434C098E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718343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2B6598-BA81-401F-B728-1E17F3320E24}" type="datetime'''''''''''m''''''''''4''''''''''w''''''''''''''4'">
              <a:rPr lang="en-GB" altLang="en-US" sz="1200" b="1" smtClean="0">
                <a:ea typeface="等线" panose="02010600030101010101" pitchFamily="2" charset="-122"/>
              </a:rPr>
              <a:pPr/>
              <a:t>m4w4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BD05E2E0-79DD-46BB-4993-0EF02E8568CE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139113" y="54435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A39EC1-6402-450D-8DD8-014EFC4F4035}" type="datetime'''''''''''''''''''2''''''''''''''.''''''''1%'''''''''''''''">
              <a:rPr lang="en-US" altLang="en-US" sz="1000" smtClean="0">
                <a:ea typeface="等线" panose="02010600030101010101" pitchFamily="2" charset="-122"/>
              </a:rPr>
              <a:pPr/>
              <a:t>2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A7FC6D96-C0FE-7DB4-10E5-D8C4330269D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537325" y="5437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3A2B39-3DA6-47A1-891A-876605D403B3}" type="datetime'''''''''''''''''''''''''34''''''''''''''''.''''''9''''%'''''''">
              <a:rPr lang="en-US" altLang="en-US" sz="1000" smtClean="0">
                <a:ea typeface="等线" panose="02010600030101010101" pitchFamily="2" charset="-122"/>
              </a:rPr>
              <a:pPr/>
              <a:t>3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5FAD3138-FD06-4A02-4FD1-26AD65D7B466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8107363" y="565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F26CDB-639F-4781-AACF-19324215E272}" type="datetime'''''''''''''''2''9''''''''''''''''''''.''''''''2''''''%'''''">
              <a:rPr lang="en-US" altLang="en-US" sz="1000" smtClean="0">
                <a:ea typeface="等线" panose="02010600030101010101" pitchFamily="2" charset="-122"/>
              </a:rPr>
              <a:pPr/>
              <a:t>29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6D6950D-B81F-68EF-2CDE-1509BB725F77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537325" y="51085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3105C-77C9-438D-B22C-4D053E1F66AF}" type="datetime'''''''''''''''2''''''''.''''''''''''''''''0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6E88B2CB-FBF8-932F-5852-78303B5A6E2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807878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F95C89-20D4-48C2-9474-09AAF129237D}" type="datetime'''''''''''''''m''5''''''w''''''''''''''''''''1'''''''''''''">
              <a:rPr lang="en-GB" altLang="en-US" sz="1200" b="1" smtClean="0"/>
              <a:pPr/>
              <a:t>m5w1</a:t>
            </a:fld>
            <a:endParaRPr lang="zh-CN" altLang="en-US" sz="12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11173B7B-B463-A1CF-1A81-6CA36F48BC53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923338" y="53721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5DBE07-E0BF-4F33-917C-851773786D0D}" type="datetime'''2''''''''''''''''''.''''''''''2%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D0000666-678C-1A64-7676-CAC26F90F237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778875" y="5570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7D06C8-3182-4893-8C31-A35490BA2217}" type="datetime'''''''''''3''''''0''''''''.''''7''''''''''''''''%'''">
              <a:rPr lang="en-US" altLang="en-US" sz="1000" smtClean="0">
                <a:ea typeface="等线" panose="02010600030101010101" pitchFamily="2" charset="-122"/>
              </a:rPr>
              <a:pPr/>
              <a:t>30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3FC6A4CE-2290-96D7-DDAA-E735802DAEC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778875" y="6340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FF37B-CA6C-45EE-99DD-349A1E97938C}" type="datetime'6''''''''''''''''''7''''''''''''.''1''''%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.1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2D1AC344-60A1-58FC-CBEE-7EC554CA6CE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972550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127EA-5D98-443B-90E7-8F173712C993}" type="datetime'''''''''''''''''''''''''''''''''''m''''''''5''''w''2'''">
              <a:rPr lang="en-GB" altLang="en-US" sz="1200" b="1" smtClean="0"/>
              <a:pPr/>
              <a:t>m5w2</a:t>
            </a:fld>
            <a:endParaRPr lang="zh-CN" altLang="en-US" sz="1200" b="1" dirty="0"/>
          </a:p>
        </p:txBody>
      </p:sp>
      <p:sp useBgFill="1">
        <p:nvSpPr>
          <p:cNvPr id="154" name="Text Placeholder 2">
            <a:extLst>
              <a:ext uri="{FF2B5EF4-FFF2-40B4-BE49-F238E27FC236}">
                <a16:creationId xmlns:a16="http://schemas.microsoft.com/office/drawing/2014/main" id="{C088C8DC-03B4-96DA-566B-6107FD02C970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6286500" y="4945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4276D-2505-4A95-B1D8-B71EE82ADFCC}" type="datetime'''''''''24''''''''''''''7''''''''''0'''''''''''''''''">
              <a:rPr kumimoji="1" lang="zh-CN" altLang="en-US" sz="1400" smtClean="0">
                <a:effectLst/>
              </a:rPr>
              <a:pPr/>
              <a:t>2470</a:t>
            </a:fld>
            <a:endParaRPr kumimoji="1" lang="zh-CN" altLang="en-US" sz="140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54977805-2F91-4A13-AD23-58FA6968F5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7180263" y="46831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CE465-80A2-4E5B-9A12-40AE7F9150BD}" type="datetime'''2''''''''''''''''''8''''''34'">
              <a:rPr kumimoji="1" lang="zh-CN" altLang="en-US" sz="1400" smtClean="0"/>
              <a:pPr/>
              <a:t>2834</a:t>
            </a:fld>
            <a:endParaRPr kumimoji="1" lang="zh-CN" altLang="en-US" sz="1400" dirty="0"/>
          </a:p>
        </p:txBody>
      </p:sp>
      <p:sp useBgFill="1">
        <p:nvSpPr>
          <p:cNvPr id="156" name="Text Placeholder 2">
            <a:extLst>
              <a:ext uri="{FF2B5EF4-FFF2-40B4-BE49-F238E27FC236}">
                <a16:creationId xmlns:a16="http://schemas.microsoft.com/office/drawing/2014/main" id="{F4533E4A-78F5-C07F-EFBC-CBCE3AC6CD4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075613" y="5133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DF6BB-00DD-4C10-8105-5F240190281A}" type="datetime'''''''''''''''2''''''''''''''''''2''0''''''''''''''8'">
              <a:rPr kumimoji="1" lang="zh-CN" altLang="en-US" sz="1400" smtClean="0">
                <a:effectLst/>
              </a:rPr>
              <a:pPr/>
              <a:t>2208</a:t>
            </a:fld>
            <a:endParaRPr kumimoji="1" lang="zh-CN" altLang="en-US" sz="14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A50556E-1215-B2E1-8926-BCAB759A647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969375" y="51482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E3F6AF-AA96-459A-B47A-62392F0794AD}" type="datetime'''''''''2''''''1''''''8''''''''7'''''''''''''''">
              <a:rPr kumimoji="1" lang="zh-CN" altLang="en-US" sz="1400" smtClean="0"/>
              <a:pPr/>
              <a:t>2187</a:t>
            </a:fld>
            <a:endParaRPr kumimoji="1" lang="zh-CN" altLang="en-US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7677DEC-FA21-2C12-6557-FDCBFEABD56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105775" y="6321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30CEC-A250-4189-8AF1-C6B2F4CB1F4F}" type="datetime'''''''''''''6''''''8''''''''''''''''''''''.8''''''%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8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257" name="Chart 3">
            <a:extLst>
              <a:ext uri="{FF2B5EF4-FFF2-40B4-BE49-F238E27FC236}">
                <a16:creationId xmlns:a16="http://schemas.microsoft.com/office/drawing/2014/main" id="{3BCD2177-4BCF-D3FF-7086-A0C2CBD74D06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131575792"/>
              </p:ext>
            </p:extLst>
          </p:nvPr>
        </p:nvGraphicFramePr>
        <p:xfrm>
          <a:off x="9804400" y="4645025"/>
          <a:ext cx="6450013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5"/>
          </a:graphicData>
        </a:graphic>
      </p:graphicFrame>
      <p:cxnSp>
        <p:nvCxnSpPr>
          <p:cNvPr id="184" name="直线连接符 183">
            <a:extLst>
              <a:ext uri="{FF2B5EF4-FFF2-40B4-BE49-F238E27FC236}">
                <a16:creationId xmlns:a16="http://schemas.microsoft.com/office/drawing/2014/main" id="{AEFA3D66-39CF-4855-2231-F24E31D8269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11079163" y="56562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BB5B389-2FD4-046D-CB28-5682EB7F1F8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0101263" y="58642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7C93D-A682-485C-B053-2710482C26BF}" type="datetime'''''''''''''''''''''3''6''''''.''''5''''''''%'''''''''''">
              <a:rPr lang="en-US" altLang="en-US" sz="1000" b="1" smtClean="0">
                <a:ea typeface="等线" panose="02010600030101010101" pitchFamily="2" charset="-122"/>
              </a:rPr>
              <a:pPr/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580F5E05-A856-5AAE-1976-ABB1F7B5A60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00695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29C00-9289-436E-9BF1-E16696DB5DA7}" type="datetime'''''F''''''''''''Y''''2''''''''''''''6''''Q2'''''''''''''''">
              <a:rPr lang="en-GB" altLang="en-US" sz="1000" b="1" smtClean="0">
                <a:ea typeface="等线" panose="02010600030101010101" pitchFamily="2" charset="-122"/>
              </a:rPr>
              <a:pPr/>
              <a:t>FY26Q2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43C79D5D-E2A5-6B6B-E23F-657800D0513A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0887075" y="453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2990E8-46EC-426E-BD83-F8D2B2E903B8}" type="datetime'''''''8''''1''''''''''.''''5''''''%'''''''''''''''''''''">
              <a:rPr lang="en-US" altLang="en-US" sz="1000" b="1" smtClean="0">
                <a:ea typeface="等线" panose="02010600030101010101" pitchFamily="2" charset="-122"/>
              </a:rPr>
              <a:pPr/>
              <a:t>81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6" name="Text Placeholder 2">
            <a:extLst>
              <a:ext uri="{FF2B5EF4-FFF2-40B4-BE49-F238E27FC236}">
                <a16:creationId xmlns:a16="http://schemas.microsoft.com/office/drawing/2014/main" id="{B7B9F4D9-93E9-D22C-E02C-772F59F6239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0887075" y="5357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B375C3-FA12-465A-B1BB-29F371E6977E}" type="datetime'''''''''4''''7''.''''''''''''''''''''''''4''''''''%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7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7" name="Text Placeholder 2">
            <a:extLst>
              <a:ext uri="{FF2B5EF4-FFF2-40B4-BE49-F238E27FC236}">
                <a16:creationId xmlns:a16="http://schemas.microsoft.com/office/drawing/2014/main" id="{178273FC-E674-6F06-91B5-B762E828F4E0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1118850" y="55880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8168C3-8DC9-474B-A8E9-96C754C5C34C}" type="datetime'4''''''''2''''''''''''.9''''''%''''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C1BA3A0-E658-294E-0CB0-19DFF4270EA8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0101263" y="5248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E00AF-0A4C-4F25-93AA-C28D8F61CC5A}" type="datetime'''''''52''''''''''''.''''''''''0''''''%'''''''''''''''">
              <a:rPr lang="en-US" altLang="en-US" sz="1000" b="1" smtClean="0">
                <a:ea typeface="等线" panose="02010600030101010101" pitchFamily="2" charset="-122"/>
              </a:rPr>
              <a:pPr/>
              <a:t>5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83768DC9-8DB1-5546-02D6-3CDEB7CC09F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855325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C54B2-EF49-44AF-BA01-EB0C54913047}" type="datetime'''''''''''FY''''26Q''3'''''''''''''''''''''''''''">
              <a:rPr lang="en-GB" altLang="en-US" sz="1000" b="1" smtClean="0">
                <a:ea typeface="等线" panose="02010600030101010101" pitchFamily="2" charset="-122"/>
              </a:rPr>
              <a:pPr/>
              <a:t>FY26Q3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D274E725-BF8B-14DC-5FA5-92A4C94E3F8F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1672888" y="5148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0E1CC1-DE67-4A59-A531-A43EB9D2C56B}" type="datetime'''''''6''''''''''''''''''''''6''''''''.''3''''''''''''''''''%'">
              <a:rPr lang="en-US" altLang="en-US" sz="1000" b="1" smtClean="0">
                <a:ea typeface="等线" panose="02010600030101010101" pitchFamily="2" charset="-122"/>
              </a:rPr>
              <a:pPr/>
              <a:t>66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2D3E5C21-E717-ABFD-9597-E610BCBB1C0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672888" y="4719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DB13A-5DFC-4987-80C6-F7A47338659A}" type="datetime'''''7''''''''''''4''''''.''''''''''''''0''%'''''">
              <a:rPr lang="en-US" altLang="en-US" sz="1000" b="1" smtClean="0">
                <a:ea typeface="等线" panose="02010600030101010101" pitchFamily="2" charset="-122"/>
              </a:rPr>
              <a:pPr/>
              <a:t>74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374E997-614C-B79D-E5C9-F22A4689CD28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1672888" y="5810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C685F-F43A-465C-82CF-8A8D9D635DC5}" type="datetime'''''3''''8''''''''''''''.7''%'">
              <a:rPr lang="en-US" altLang="en-US" sz="1000" b="1" smtClean="0">
                <a:ea typeface="等线" panose="02010600030101010101" pitchFamily="2" charset="-122"/>
              </a:rPr>
              <a:pPr/>
              <a:t>38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B24B1565-41C4-667C-D509-11A25B5A3731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1641138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E47EB-8237-4E2F-89F3-A75C9C3C4E91}" type="datetime'''''''''''''''''''''FY''''''''''''''''''''26''''''Q''''4'''''">
              <a:rPr lang="en-GB" altLang="en-US" sz="1000" b="1" smtClean="0">
                <a:ea typeface="等线" panose="02010600030101010101" pitchFamily="2" charset="-122"/>
              </a:rPr>
              <a:pPr/>
              <a:t>FY26Q4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56B7973E-2380-63C3-5715-3781FEF4104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2458700" y="4660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22D0C-1FD0-422C-960B-70F9C4C2CD2D}" type="datetime'''76''''''''''''.''''''''''''''''''''''''5''''%'''''''''">
              <a:rPr lang="en-US" altLang="en-US" sz="1000" b="1" smtClean="0">
                <a:ea typeface="等线" panose="02010600030101010101" pitchFamily="2" charset="-122"/>
              </a:rPr>
              <a:pPr/>
              <a:t>7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8" name="Text Placeholder 2">
            <a:extLst>
              <a:ext uri="{FF2B5EF4-FFF2-40B4-BE49-F238E27FC236}">
                <a16:creationId xmlns:a16="http://schemas.microsoft.com/office/drawing/2014/main" id="{D76409CB-FDC4-0D00-EA88-57209BC76E8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2458700" y="5503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C270-96B5-4D21-BEE5-24D79B3CE0D9}" type="datetime'''''''''''''''4''1''.''''''''''''''4''''''''''''''''%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1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8134AE2F-6CFE-A446-A02E-78F7AD123D7A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0101263" y="462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16372B-128F-4830-808E-9D2E9D28C54E}" type="datetime'''''''7''''''''''''''''''''''''''''7''''''''''''''''''''.8%'''">
              <a:rPr lang="en-US" altLang="en-US" sz="1000" b="1" smtClean="0">
                <a:ea typeface="等线" panose="02010600030101010101" pitchFamily="2" charset="-122"/>
              </a:rPr>
              <a:pPr/>
              <a:t>77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B23FD14-6846-C286-AD58-7755359848F8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2426950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46338-C150-4F9F-9687-8B4AAE4DB830}" type="datetime'''''''''''''''''''''''''FY2''''''''''''7Q''''''''''''''1'''''">
              <a:rPr lang="en-GB" altLang="en-US" sz="1000" b="1" smtClean="0">
                <a:ea typeface="等线" panose="02010600030101010101" pitchFamily="2" charset="-122"/>
              </a:rPr>
              <a:pPr/>
              <a:t>FY27Q1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3B3F0EBB-3D34-6012-8EA1-894569814AB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3320713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DB450-01B8-424C-B764-15DBF326320F}" type="datetime'''''''''''''''''''2''''''月'">
              <a:rPr lang="zh-CN" altLang="en-US" sz="1000" b="1" smtClean="0"/>
              <a:pPr/>
              <a:t>2月</a:t>
            </a:fld>
            <a:endParaRPr lang="zh-CN" altLang="en-US" sz="1000" b="1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E9E3152D-30C9-9950-C93C-22695B01646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4028738" y="4648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09A11-EAE8-4333-975F-B56014F1AB91}" type="datetime'77.''''''''''''''0''''''''%'''''''''''''''''''''''">
              <a:rPr lang="en-US" altLang="en-US" sz="1000" b="1" smtClean="0">
                <a:ea typeface="等线" panose="02010600030101010101" pitchFamily="2" charset="-122"/>
              </a:rPr>
              <a:pPr/>
              <a:t>77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6" name="Text Placeholder 2">
            <a:extLst>
              <a:ext uri="{FF2B5EF4-FFF2-40B4-BE49-F238E27FC236}">
                <a16:creationId xmlns:a16="http://schemas.microsoft.com/office/drawing/2014/main" id="{63E728C3-CA68-F0F3-D131-63E73F2A1C0A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4028738" y="4941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6A3197-46CB-4C1C-A2F4-3401B36E1073}" type="datetime'''''''7''''''''''''4.''''9''''''''%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74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7" name="Text Placeholder 2">
            <a:extLst>
              <a:ext uri="{FF2B5EF4-FFF2-40B4-BE49-F238E27FC236}">
                <a16:creationId xmlns:a16="http://schemas.microsoft.com/office/drawing/2014/main" id="{5A1904E0-6C59-CDEB-DA7E-A6B4607170CE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4028738" y="5716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62EBF-7A6F-43A4-B2F1-A155837EED69}" type="datetime'4''''''''''''2''''''''.''''''6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88C24B9-8B6C-57B5-D41A-992610C92BFD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14104938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0AFAE3-766F-4C11-8C40-0492DE81B0D6}" type="datetime'''''''''''''''''3月'">
              <a:rPr lang="zh-CN" altLang="en-US" sz="1000" b="1" smtClean="0"/>
              <a:pPr/>
              <a:t>3月</a:t>
            </a:fld>
            <a:endParaRPr lang="zh-CN" altLang="en-US" sz="1000" b="1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672A048A-E06F-3607-0916-1807732283CE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4814550" y="4706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5EC610-381F-4173-85DD-C70ADD86C0D7}" type="datetime'''''''''''''7''''''''''''''4''''''''''''.''''6%'''">
              <a:rPr lang="en-US" altLang="en-US" sz="1000" b="1" smtClean="0">
                <a:ea typeface="等线" panose="02010600030101010101" pitchFamily="2" charset="-122"/>
              </a:rPr>
              <a:pPr/>
              <a:t>74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11" name="Text Placeholder 2">
            <a:extLst>
              <a:ext uri="{FF2B5EF4-FFF2-40B4-BE49-F238E27FC236}">
                <a16:creationId xmlns:a16="http://schemas.microsoft.com/office/drawing/2014/main" id="{A2BD54E6-C698-2201-C5DE-9481CD433AC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4814550" y="52784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450FE6-F468-4BEB-8556-73CBDAB70AC0}" type="datetime'50''''''''''''.''''''''''''''8''''''''''''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50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08F3CF9D-EAE8-D592-DBC8-64897101871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4890750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3D46C-76FB-4800-9198-B90975330021}" type="datetime'4''''''''''''''''''''''''''''''''''''''''月'''''''''''">
              <a:rPr lang="zh-CN" altLang="en-US" sz="1000" b="1" smtClean="0"/>
              <a:pPr/>
              <a:t>4月</a:t>
            </a:fld>
            <a:endParaRPr lang="zh-CN" altLang="en-US" sz="1000" b="1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DB0F846-1441-3505-8C87-0D2F012E8E88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5600363" y="4602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1B33B0-ADDD-4B86-9528-2D5FEF25E62C}" type="datetime'''7''''8''''''''''''''''''''''''''.''''''9''%'''''''''">
              <a:rPr lang="en-US" altLang="en-US" sz="1000" b="1" smtClean="0">
                <a:ea typeface="等线" panose="02010600030101010101" pitchFamily="2" charset="-122"/>
              </a:rPr>
              <a:pPr/>
              <a:t>78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7780400E-1165-8A77-83F5-DACBDC08667A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5600363" y="6154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3061E2-D746-446F-816C-8E3115BF4EBC}" type="datetime'2''''''4''''''.''''''''''''''''''''''''''''''''4''''%'''">
              <a:rPr lang="en-US" altLang="en-US" sz="1000" b="1" smtClean="0">
                <a:ea typeface="等线" panose="02010600030101010101" pitchFamily="2" charset="-122"/>
              </a:rPr>
              <a:pPr/>
              <a:t>24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9AD6DF05-4B25-1ADD-0BC2-FBFF676DC2F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00363" y="5713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3835C6-F026-45D5-BD8C-C4B2122C7C49}" type="datetime'3''2''''''.''''''''''''''''''''7''''''''''''%'''''''">
              <a:rPr lang="en-US" altLang="en-US" sz="1000" b="1" smtClean="0">
                <a:ea typeface="等线" panose="02010600030101010101" pitchFamily="2" charset="-122"/>
              </a:rPr>
              <a:pPr/>
              <a:t>32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17DACA9-3BDD-48F7-61A4-94664662EC5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55686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261CAF-22CA-404F-834A-9FF926A46880}" type="datetime'''5''''''''''''月''''''''''m''''''''''''''''''''t''d'''">
              <a:rPr lang="zh-CN" altLang="en-US" sz="1000" b="1" smtClean="0"/>
              <a:pPr/>
              <a:t>5月mtd</a:t>
            </a:fld>
            <a:endParaRPr lang="zh-CN" altLang="en-US" sz="1000" b="1" dirty="0"/>
          </a:p>
        </p:txBody>
      </p:sp>
      <p:sp useBgFill="1">
        <p:nvSpPr>
          <p:cNvPr id="199" name="Text Placeholder 2">
            <a:extLst>
              <a:ext uri="{FF2B5EF4-FFF2-40B4-BE49-F238E27FC236}">
                <a16:creationId xmlns:a16="http://schemas.microsoft.com/office/drawing/2014/main" id="{F4AF7E9B-4A1E-4144-C5C1-8D28B716810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2458700" y="5802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D8B2F3-8517-4BE3-9FEA-B4F5C77751A8}" type="datetime'''''''''''''3''''''''''''9.''''''''''1''''''''''''%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39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ED98D83E-C2B2-427E-378B-8120D243CF1B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223962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064BB0DE-DEFC-9061-3964-B5B60F430D58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2998450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A2F37FD9-6B88-602F-BD14-BCEFDC4CD9F9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375727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16275B0-5351-A50F-84AE-50D71CE8977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253172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E7706A-B5FD-4164-95D0-72011ACB2DBE}" type="datetime'电''''''''''''''''''''''''''''''''''''''''销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8A6F93F-959C-A022-A3D3-063223E2CD0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3290550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F4EB42-C5E7-4903-9002-37E360CE5B76}" type="datetime'渠''''''''''''道''''''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B461FCE-6405-1E4C-8ECE-343B0B8BD17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404937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681595-9603-4BEB-A73D-3171DEBF97E3}" type="datetime'''''''''''''直''营'''''''''''''''''''''''''''">
              <a:rPr kumimoji="1" lang="zh-CN" altLang="en-US" sz="1400" smtClean="0"/>
              <a:pPr/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pic>
        <p:nvPicPr>
          <p:cNvPr id="255" name="图片 254">
            <a:extLst>
              <a:ext uri="{FF2B5EF4-FFF2-40B4-BE49-F238E27FC236}">
                <a16:creationId xmlns:a16="http://schemas.microsoft.com/office/drawing/2014/main" id="{3D56923B-C5B4-468C-DEF7-A476BE713318}"/>
              </a:ext>
            </a:extLst>
          </p:cNvPr>
          <p:cNvPicPr>
            <a:picLocks noChangeAspect="1"/>
          </p:cNvPicPr>
          <p:nvPr/>
        </p:nvPicPr>
        <p:blipFill>
          <a:blip r:embed="rId116"/>
          <a:srcRect l="4791"/>
          <a:stretch>
            <a:fillRect/>
          </a:stretch>
        </p:blipFill>
        <p:spPr>
          <a:xfrm>
            <a:off x="16472936" y="4356098"/>
            <a:ext cx="4792178" cy="342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8502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AB8F-F5C9-45D5-7092-BE3189264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C6B606-1B6E-3A65-6E5E-851455E5191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45417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2" imgW="7772400" imgH="10058400" progId="TCLayout.ActiveDocument.1">
                  <p:embed/>
                </p:oleObj>
              </mc:Choice>
              <mc:Fallback>
                <p:oleObj name="think-cell 幻灯片" r:id="rId12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6545A98F-1BBD-ABE2-F671-D92CFDADD6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211638"/>
              </p:ext>
            </p:extLst>
          </p:nvPr>
        </p:nvGraphicFramePr>
        <p:xfrm>
          <a:off x="514350" y="715963"/>
          <a:ext cx="2686050" cy="241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4"/>
          </a:graphicData>
        </a:graphic>
      </p:graphicFrame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92E57A62-EC6D-A4E5-8B62-39B25BF0AD0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1350" y="1393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4B948-0610-45D3-917C-70C97CAC57C4}" type="datetime'''''''''3''''''''''''''1''.''''''''''''''''''''''2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2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AC046814-D627-7832-FF99-50D6E9C36A2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338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CBCC7-2770-4624-AFB0-8804D444609F}" type="datetime'''''''''''''6''''''''''''''''''''7''''''.''''''2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013E25-25DD-643F-7E1A-E401D8E8E8C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CC41920D-6C28-E3D2-A3B0-77F58298C05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85875" y="10826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F9EF36-4677-4097-B28F-406AFC557D87}" type="datetime'''''1''''''''.''''''8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533116B-B733-20C0-08D6-46CACF5B42D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338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C00BA-74F7-4ABC-B4D9-DC957E98A2EF}" type="datetime'3''''''''''1''''''''.''''''''3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4FB8F713-17A9-140A-EA6E-6DA0F53B4C9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316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4940C0-149A-44B4-9F03-D016160ECC0F}" type="datetime'''''''''''''6''''''''''''''''6''.''''''9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dirty="0"/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E1054E7C-2388-47FB-6599-A4C1F08EB59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44E6802D-F202-4E2D-F395-F4681E58588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0890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3DE037-C89C-4255-AF03-4B604E428CD4}" type="datetime'''''''''''''''1''.7''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B450F457-5076-2E3D-A7A6-C84B53C818F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1850" y="1354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A8899D-4B89-4668-910C-5B2556391010}" type="datetime'''3''4''''''''''''''''''''''''.''''''''''''''''1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1%</a:t>
            </a:fld>
            <a:endParaRPr lang="zh-CN" altLang="en-US" sz="10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772AB53-BA4E-D928-B751-635617852FC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85775" y="11334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CB9E2-82AD-4C95-84DA-6B205905F5F2}" type="datetime'''''''''''''''''''''''''''''''1.''''''6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4C145DDD-3463-BEBD-CA3D-775F7F37DFB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28825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16371929-C7A6-CAD2-7FF8-6591340FD27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884488" y="1887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E79AA6-8420-4358-A7C1-720EC2BFA7AF}" type="datetime'''''''''''''''1''''''''''''''''''''''''''''''''.''''9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DC4090D1-40F1-C745-B910-37F32E0172C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14638" y="20716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FF6AE-00C8-43C6-9437-B5D02F0C9DEB}" type="datetime'''3''''''''''''1''''''''''''''''''''''.6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6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DB9AAE21-A2D7-9D1F-D088-C4397EF96BC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20975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3BCB-42E1-4749-8BD5-34B031DCDCB6}" type="datetime'''''''''''''''''''''''6''''''''''''''''''''6''''''''''.''5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5%</a:t>
            </a:fld>
            <a:endParaRPr lang="zh-CN" altLang="en-US" sz="1000" dirty="0"/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F32BF15-767E-03DF-6C1D-4043B4C2B54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01938" y="3101975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30871-4531-4A95-95F2-0AE0FA954B67}" type="datetime'''F''''''''''''''Y''''''2''''''''''7Q1''''''''''''''t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F199A9A-021F-CF13-1D87-B8CA0AB670B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46075" y="9175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C690B-04F1-47AF-B0A3-EE568535A110}" type="datetime'''2''''55''''6''''''''''''''''''''''''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568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45A7FD3-1FF7-1AFD-FAFF-3E77AE72422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185863" y="8445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7DD3E9-60CD-4AAD-8C60-5A013577BFD4}" type="datetime'''''''''''''''''2''''''6''''''5''''''''''34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34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1ED7F35-EC70-9264-FC64-353A7CD96B7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27238" y="8318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410E2-9D69-484D-8B24-D77BD252538F}" type="datetime'''2''''''''''''''6''''7''''''''''''''''''''''''''''''0''''''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06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60DA17F7-7B34-A963-5915-98A8AD15E77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867025" y="16398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A5790-B07F-41FD-9551-D15D09FEA992}" type="datetime'''''''''1''''''''''''''''5''9''''''3''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36</a:t>
            </a:fld>
            <a:endParaRPr kumimoji="1" lang="zh-CN" alt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34D351AC-CF78-1221-7A8F-03965AF29AD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01850" y="2339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CA5602-441C-4CA7-95FD-94CF04F8EBF9}" type="datetime'''''''''''''''''''''''''''''''''6''''''4.''''''2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7A307C0-7DF9-A436-A6E4-A0A716DFE33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416800" y="54117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3E510CC-E580-C3F7-2732-33F54DA388F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175625" y="54117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B1E3EB15-111A-6C38-1B12-2FA26DF0D57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34450" y="54117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9CD97D17-D18B-34FD-EB30-AABF90A4801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71842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238CCA-860F-415B-BBDD-C5ADE8683906}" type="datetime'''''''''''''''''电''''''''''''''''''''''''''销''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2150147-2559-D562-57C7-F8A01808B77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477250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179031-398C-4831-AA97-E3E0EA4ECEE5}" type="datetime'''''''''''''''''''''''''''渠''''''''''''道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84E7EB14-ED7E-0E2D-1378-E7607B24376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23607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9E3938-D190-4F06-B81E-667A92F7B2B1}" type="datetime'''''''''''直''''''''''''''''''''''营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0AA2456-C6B8-F229-17BB-561BAE8ED181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59770111"/>
              </p:ext>
            </p:extLst>
          </p:nvPr>
        </p:nvGraphicFramePr>
        <p:xfrm>
          <a:off x="7754938" y="1111250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2E464132-07DC-448A-584D-700C756FF2C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775575" y="25669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09263F-1DC0-42C6-895B-D548A6AA5F2F}" type="datetime'3''2''''''''.''''''''''''''''''''''0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lang="zh-CN" altLang="en-US" sz="1000" dirty="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C624E3B3-903F-042C-9A73-F6E17C1C3C5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881938" y="2873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6E3D99-9F95-4643-970F-512391990DD1}" type="datetime'66''''.3''''''''''''''''''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dirty="0"/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9E3E1488-35B9-8518-CFE1-4DEA9810B7B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716838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E360762A-59B2-576B-AE77-D09F2AE0BCE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89950" y="1268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34480C-61D8-4F08-AA58-172A2101FE96}" type="datetime'''''''''''''''''''''''1''''.8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F9B2C550-71C4-BAB9-9468-01EDD9D289D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86775" y="1665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66BF9-DCE0-4EDF-A976-4E6E78EA8408}" type="datetime'''''''''''3''''''''''3.''''7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.7%</a:t>
            </a:fld>
            <a:endParaRPr lang="zh-CN" altLang="en-US" sz="10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65F013D0-45BB-A486-85FB-6D19C32412A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9313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4CEB61-4334-4538-B5CA-3BB2DEDF08DB}" type="datetime'''''''''6''''''''''''4''''''''''.''''''''''''''5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5%</a:t>
            </a:fld>
            <a:endParaRPr lang="zh-CN" altLang="en-US" sz="1000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35C83698-2B5C-2CCE-6222-6D372003D22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524875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383497D3-70F5-30BB-FEDB-742B36876B1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309100" y="15081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5E79B2-7A79-488F-97D9-9F7AA61562F4}" type="datetime'1''''''.''''''''''''''''''''''''''9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7B001F9-709A-A319-DCC5-055B43940E1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78938" y="1828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7E81F0-44DF-4806-A8A6-A8C261E59CCD}" type="datetime'''''''3''2''''''''''''''''''''.''9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9%</a:t>
            </a:fld>
            <a:endParaRPr lang="zh-CN" altLang="en-US" sz="10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A07E46C-9203-664D-7A52-1EA76802DCF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881938" y="22955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29DC5-8489-4BB4-BCB4-27C764998DC3}" type="datetime'''''''''''''''''''''''1''''''''''''''''.7''''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DF51FBFC-08E1-F4C4-9925-48E496F8D3E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332913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12AD19A-155B-60E1-3A0D-777B371B86F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929813" y="22606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199B3-6904-43CD-8FD8-83C13D106186}" type="datetime'''''''2.''''''''''''''''''0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90CB867-9F8C-F0AA-73B8-B6DAC8E2991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864725" y="24018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3CA20-65D9-4B4E-89D6-5582DCEEDF37}" type="datetime'2''''9''''''.0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%</a:t>
            </a:fld>
            <a:endParaRPr lang="zh-CN" altLang="en-US" sz="10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0D58EA-B1EC-746D-804A-272B1F43BBC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864725" y="2847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3294F-3B5B-4D1D-B4F2-EBAE2BFA6D10}" type="datetime'''''''''''''''''6''''''9''''.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dirty="0"/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F466628C-7B34-1402-65C6-CE9FBCC0541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0074275" y="328295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C5FAC-DA1B-4D01-9B7E-77096F690BA5}" type="datetime'''''''''''''''''''''''''5月''''''''''''''''''''''''''td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177" name="Text Placeholder 2">
            <a:extLst>
              <a:ext uri="{FF2B5EF4-FFF2-40B4-BE49-F238E27FC236}">
                <a16:creationId xmlns:a16="http://schemas.microsoft.com/office/drawing/2014/main" id="{1E8408F8-601A-C5DE-3506-BACEA57FDB7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631113" y="2143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48471F-6B9A-4A39-95B2-4F17A2BCD435}" type="datetime'''''''''''''''''''''5''''''1''''''''''''''''''9''''''''''''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92</a:t>
            </a:fld>
            <a:endParaRPr kumimoji="1" lang="zh-CN" alt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1A376E4-407B-340E-EFFA-56E20264C8B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394700" y="9794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97F73-2002-4E7A-A144-1D5A18D84A04}" type="datetime'''1''''''''''''2''''''''''''''''''''''''10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DC18138C-6B2B-474D-25AC-0E562550C39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202738" y="12446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3DE13-4BF7-4D6F-8A83-CC6C69CEE2E7}" type="datetime'1''''''''''''''''''''0''5''''2''''''''''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20</a:t>
            </a:fld>
            <a:endParaRPr kumimoji="1" lang="zh-CN" altLang="en-US" sz="1400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03EC6281-6C26-7D29-AB6C-E4083B96028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0055225" y="21050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0AC8A-0C3D-45C7-990B-4C2E33A30699}" type="datetime'''''''''''''54''''''''''''''''1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6</a:t>
            </a:fld>
            <a:endParaRPr kumimoji="1" lang="zh-CN" altLang="en-US" sz="14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25FC50FB-D39E-8A2D-1808-A022362FE9BB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77350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A9AC14-5EEC-4EFA-BA5E-58B932FF76A0}" type="datetime'''''''''''''''''6''''5''''.''''''''''2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2%</a:t>
            </a:fld>
            <a:endParaRPr lang="zh-CN" altLang="en-US" sz="1000" dirty="0"/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718DB7D5-9186-D7C2-CB0A-DD2CC4C29017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584613561"/>
              </p:ext>
            </p:extLst>
          </p:nvPr>
        </p:nvGraphicFramePr>
        <p:xfrm>
          <a:off x="14500225" y="109061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cxnSp>
        <p:nvCxnSpPr>
          <p:cNvPr id="4" name="直线连接符 3">
            <a:extLst>
              <a:ext uri="{FF2B5EF4-FFF2-40B4-BE49-F238E27FC236}">
                <a16:creationId xmlns:a16="http://schemas.microsoft.com/office/drawing/2014/main" id="{81CED256-55B3-CFF2-F79F-77951A738B1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16371888" y="1638300"/>
            <a:ext cx="0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15D8926-E3D9-AD91-25D1-DA955DA82E20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27225" y="2582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990333-673A-40B7-AC2F-86EA428583E8}" type="datetime'''''''''''''''''''6''''''''''''3.''''''''1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dirty="0"/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64467FBC-1355-D17A-8FE9-1BF7B231C290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379575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91BB6-3E26-4828-86B1-F0650FE2EB02}" type="datetime'''m''''''''''''4''''''w''''''''''3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6C69919E-4643-8953-2E64-85010B217566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336838" y="1246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7B530-15C0-4157-B54F-23DEE1A89E17}" type="datetime'''1''''''''''''''''''''''''''''''''''''''.''''''5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72B4C81-4AF7-FA30-D2AA-AA5DE6069A8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317788" y="16891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E31D6-A31B-4719-A878-7C996347BFC1}" type="datetime'''''''''''3''''''8''.6''''''''''''''''''''%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45D1B9CC-B557-17BF-8170-968C348815E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300325" y="2532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7DDDEB-3B45-4165-A9FF-0AC1A92362DA}" type="datetime'5''9''''''''''''''''.''''''''''''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9%</a:t>
            </a:fld>
            <a:endParaRPr lang="zh-CN" altLang="en-US" sz="1000" dirty="0"/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840BB14E-BC08-9BD5-7F00-59BE21CB859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27333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5A6047-4983-4E0D-A50C-3A455C03B254}" type="datetime'''''''''''''''m4''''''''''''''''''''''w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4CDD034A-AC9B-C515-DEDB-438B7C08D3F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229013" y="17192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8126E7-5526-4E94-ADC6-18C3DB825C1E}" type="datetime'''''''''''2''''''.''''''''''''''''1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1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6059B291-8B73-A386-7195-A1D5CA82025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171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E105F3-4D6A-44FF-BCF0-9AB1BA07B3D5}" type="datetime'''''''''3''''''''4''''.''''''''''''''''9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9%</a:t>
            </a:fld>
            <a:endParaRPr lang="zh-CN" altLang="en-US" sz="1000" dirty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5B37707-EAB8-D895-C738-57431B4E31C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197263" y="19319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121F43-CA71-4B82-BA02-4500E5604ECA}" type="datetime'2''''9''''''''''''''''''''.''''''''''''''2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6993726C-14D9-1AE9-5186-FF57E18125DF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4627225" y="13843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8FDBE7-B625-4A5A-87BA-1F079E38A470}" type="datetime'''''''''2''''.''''0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F1DBE491-6792-0C56-1C46-86D7E6B2CB3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1616868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96B513-9C18-4A96-86B1-EE7E158B9A9D}" type="datetime'''m''5''''''''''''''''''''''''''''w''''''''''''''''1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19740924-7FD5-799D-15EE-3B70BFE60C4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13238" y="16478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A778AA-9A28-4C14-AFBB-92CDB011E97C}" type="datetime'''''''2''''''''''''''''.''2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1554C467-E151-145B-4269-8A59E6DE2AF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868775" y="184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36865C-92B9-42DB-B2F8-2EB89E53ED81}" type="datetime'''''''''''''''''''3''''''''''''''''''0''''''''.''7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3796EEAF-2901-2E5A-F49C-35755221A72F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868775" y="2614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F9DDB6-4D6F-4565-BFF9-01CF49B0C78F}" type="datetime'''''6''''''''''7''.1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1%</a:t>
            </a:fld>
            <a:endParaRPr lang="zh-CN" altLang="en-US" sz="1000" dirty="0"/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BF3EDACD-6412-6B66-8320-CC4CD747515C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7062450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E0399-FD72-45A1-965B-1158F55955C6}" type="datetime'm''''''''''''5''''''''''w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 useBgFill="1">
        <p:nvSpPr>
          <p:cNvPr id="376" name="Text Placeholder 2">
            <a:extLst>
              <a:ext uri="{FF2B5EF4-FFF2-40B4-BE49-F238E27FC236}">
                <a16:creationId xmlns:a16="http://schemas.microsoft.com/office/drawing/2014/main" id="{BB651962-0834-E653-1E8B-DD38A77B9B9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4376400" y="12207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5FE5F-5CE9-45B0-8A26-1841A2C82A5F}" type="datetime'''''''''''''''''''''''''''''2''''4''''''''''''''''''7''''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0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A10353CC-D256-F7ED-3EB9-27B9C649D2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5270163" y="958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B9A6F-BE22-4C13-9266-EB1C5A1948AB}" type="datetime'''''2''''8''''''3''''''''4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4</a:t>
            </a:fld>
            <a:endParaRPr kumimoji="1" lang="zh-CN" altLang="en-US" sz="1400" dirty="0"/>
          </a:p>
        </p:txBody>
      </p:sp>
      <p:sp useBgFill="1">
        <p:nvSpPr>
          <p:cNvPr id="384" name="Text Placeholder 2">
            <a:extLst>
              <a:ext uri="{FF2B5EF4-FFF2-40B4-BE49-F238E27FC236}">
                <a16:creationId xmlns:a16="http://schemas.microsoft.com/office/drawing/2014/main" id="{731E9539-E117-C229-63B6-DD95DB5841E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165513" y="14081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4F652-11E1-4286-9AB3-4754FA47EDE4}" type="datetime'2''''2''''''''''''''0''''''''''''''''''''''''''''''8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8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D386C75-4140-410B-9D15-4E46B431EAE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7059275" y="14239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BF397-70BA-4A14-94A1-1A8512D3B30C}" type="datetime'''''''''2''''''''''''1''''8''''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7</a:t>
            </a:fld>
            <a:endParaRPr kumimoji="1" lang="zh-CN" altLang="en-US" sz="14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14D2137-5BB7-847A-91DB-54D68AD39B4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195675" y="2597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964D4F-1D5F-41D9-8CC5-C23919D91C80}" type="datetime'''''''''''6''8''.''''''''''''8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8%</a:t>
            </a:fld>
            <a:endParaRPr lang="zh-CN" altLang="en-US" sz="1000" dirty="0"/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5F3E50BD-F820-3C56-2737-7871600487E8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308805910"/>
              </p:ext>
            </p:extLst>
          </p:nvPr>
        </p:nvGraphicFramePr>
        <p:xfrm>
          <a:off x="909638" y="6913563"/>
          <a:ext cx="8455025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285" name="直线连接符 284">
            <a:extLst>
              <a:ext uri="{FF2B5EF4-FFF2-40B4-BE49-F238E27FC236}">
                <a16:creationId xmlns:a16="http://schemas.microsoft.com/office/drawing/2014/main" id="{1247FD1C-4612-1DCE-D59A-5DDA471CCEA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>
            <a:off x="8777288" y="82153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线连接符 278">
            <a:extLst>
              <a:ext uri="{FF2B5EF4-FFF2-40B4-BE49-F238E27FC236}">
                <a16:creationId xmlns:a16="http://schemas.microsoft.com/office/drawing/2014/main" id="{BA7E9283-9CF6-545A-29AE-C5D196882889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7675563" y="78517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2B03A318-955E-89BA-B09B-E55E891CDE7E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618038" y="79359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直线连接符 401">
            <a:extLst>
              <a:ext uri="{FF2B5EF4-FFF2-40B4-BE49-F238E27FC236}">
                <a16:creationId xmlns:a16="http://schemas.microsoft.com/office/drawing/2014/main" id="{5AE723CD-3607-315D-3CD4-141C10655548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H="1">
            <a:off x="2560638" y="79248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EEF753B7-C23B-B094-7C2E-213DDA55950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368550" y="6807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A15C4A-35CB-411E-A355-BF78BDC4FC44}" type="datetime'''''8''''''''1.5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5%</a:t>
            </a:fld>
            <a:endParaRPr lang="zh-CN" altLang="en-US" sz="1000" b="1" dirty="0"/>
          </a:p>
        </p:txBody>
      </p:sp>
      <p:sp useBgFill="1">
        <p:nvSpPr>
          <p:cNvPr id="227" name="Text Placeholder 2">
            <a:extLst>
              <a:ext uri="{FF2B5EF4-FFF2-40B4-BE49-F238E27FC236}">
                <a16:creationId xmlns:a16="http://schemas.microsoft.com/office/drawing/2014/main" id="{B9D3F3BE-0AB2-E7A4-4394-3D99AB8502DD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368550" y="762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FFE6F-D239-435E-8BA5-72350250C5DF}" type="datetime'''''''''''''''''''4''''7''.''4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b="1" dirty="0"/>
          </a:p>
        </p:txBody>
      </p:sp>
      <p:sp useBgFill="1">
        <p:nvSpPr>
          <p:cNvPr id="228" name="Text Placeholder 2">
            <a:extLst>
              <a:ext uri="{FF2B5EF4-FFF2-40B4-BE49-F238E27FC236}">
                <a16:creationId xmlns:a16="http://schemas.microsoft.com/office/drawing/2014/main" id="{2C31F55F-62C1-826F-4EA2-43958C68F14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600325" y="78565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EED87-A020-48A2-820E-A382EE9D2755}" type="datetime'4''''''2''''''''''''''''''''.9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.9%</a:t>
            </a:fld>
            <a:endParaRPr lang="zh-CN" altLang="en-US" sz="1000" b="1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CF98D-6ACC-BA03-8069-BB80A656B00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300163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F8F5E-2B43-4FF7-8C90-C97215724007}" type="datetime'''F''''''''''Y2''''''''''''''6''''''''''''Q2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C037872-3FAB-05E8-23FE-DAD6311C5BA9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33680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3B512-3EEF-4296-A6FA-03A0F3E1DCDB}" type="datetime'F''''''Y''''''''''2''''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30FB2F44-2853-4585-B4BC-8A7436879157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405188" y="74168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33894-78CC-42C3-A10B-EDCAC0E091CE}" type="datetime'6''''''''6''''''''.''''''''''3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b="1" dirty="0"/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F0CE544-FEC4-996D-9415-8EEF52FD3051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405188" y="6988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384A0-8CA2-482F-94DA-76959848DFC6}" type="datetime'''''''''''7''''''''''4''''''''''''''''.0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0%</a:t>
            </a:fld>
            <a:endParaRPr lang="zh-CN" altLang="en-US" sz="1000" b="1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1FBD8C80-547C-060C-E087-3F96985FF58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405188" y="8078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5A0E91-A58C-4F8F-8A91-03E788E7734A}" type="datetime'3''''''''''''''8''''''''''''''''''.''''''''7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7%</a:t>
            </a:fld>
            <a:endParaRPr lang="zh-CN" altLang="en-US" sz="1000" b="1" dirty="0"/>
          </a:p>
        </p:txBody>
      </p:sp>
      <p:sp useBgFill="1">
        <p:nvSpPr>
          <p:cNvPr id="230" name="Text Placeholder 2">
            <a:extLst>
              <a:ext uri="{FF2B5EF4-FFF2-40B4-BE49-F238E27FC236}">
                <a16:creationId xmlns:a16="http://schemas.microsoft.com/office/drawing/2014/main" id="{3311FF04-D948-F954-CF75-84BF25962E8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3636963" y="7697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AEE95E-C06A-4689-B98B-BBC985F4F5E8}" type="datetime'''''49''''''''''''''''''''''''''''''.''''''''''5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DAEC984-2805-835F-3AD1-6399556718F3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337343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764DD8-A49C-4B2D-8347-87ECC514F20E}" type="datetime'''''''''''''''''''''''''F''Y''''''''''''''2''''''6Q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BD8D3E9E-79CB-D91D-A0E7-60678AA20F8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4440238" y="692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A89C04-0297-46CB-ADF1-7DE8F4059D1A}" type="datetime'''''7''6''''''''''''.''''''''''''''5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%</a:t>
            </a:fld>
            <a:endParaRPr lang="zh-CN" altLang="en-US" sz="1000" b="1" dirty="0"/>
          </a:p>
        </p:txBody>
      </p:sp>
      <p:sp useBgFill="1">
        <p:nvSpPr>
          <p:cNvPr id="231" name="Text Placeholder 2">
            <a:extLst>
              <a:ext uri="{FF2B5EF4-FFF2-40B4-BE49-F238E27FC236}">
                <a16:creationId xmlns:a16="http://schemas.microsoft.com/office/drawing/2014/main" id="{AA630DFD-562B-68BF-DC8D-36D794D63FE5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440238" y="77724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8AB08-D7F9-41CE-A865-09113A93EB49}" type="datetime'''4''1''''''''''''''''''''''''.''''''4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4%</a:t>
            </a:fld>
            <a:endParaRPr lang="zh-CN" altLang="en-US" sz="1000" b="1" dirty="0"/>
          </a:p>
        </p:txBody>
      </p:sp>
      <p:sp useBgFill="1">
        <p:nvSpPr>
          <p:cNvPr id="232" name="Text Placeholder 2">
            <a:extLst>
              <a:ext uri="{FF2B5EF4-FFF2-40B4-BE49-F238E27FC236}">
                <a16:creationId xmlns:a16="http://schemas.microsoft.com/office/drawing/2014/main" id="{594DD9F5-B1EE-955C-E770-78F63FCED45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440238" y="80708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4698B-F75A-44E3-A2D8-E5B1D4907DFD}" type="datetime'''''''''3''''''''''''''9''''.1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%</a:t>
            </a:fld>
            <a:endParaRPr lang="zh-CN" altLang="en-US" sz="1000" b="1" dirty="0"/>
          </a:p>
        </p:txBody>
      </p:sp>
      <p:sp useBgFill="1">
        <p:nvSpPr>
          <p:cNvPr id="233" name="Text Placeholder 2">
            <a:extLst>
              <a:ext uri="{FF2B5EF4-FFF2-40B4-BE49-F238E27FC236}">
                <a16:creationId xmlns:a16="http://schemas.microsoft.com/office/drawing/2014/main" id="{5CFD6534-3382-3E9E-95BA-58C2F08B9943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4440238" y="77993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C4397-42BF-412F-B5D3-0D6CCAC0F352}" type="datetime'''40''''.''''''''''''''''3''''''''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b="1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44575D5A-BF44-1470-F4C5-88CE84F62DC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101725" y="7889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1D87FB-9DAC-416F-B399-ECDF5DDFBFD7}" type="datetime'''''''''''''''''''4''''''''''''''''''''''1''.''''''5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b="1" dirty="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7C0A1233-5681-97BF-6E50-FE4ECC1A2D06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331913" y="68976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822FE-4723-447D-B4C7-4038D2B308E6}" type="datetime'''''7''''''''''7''''''.''''''''''''''''''''8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8%</a:t>
            </a:fld>
            <a:endParaRPr lang="zh-CN" altLang="en-US" sz="1000" b="1" dirty="0"/>
          </a:p>
        </p:txBody>
      </p:sp>
      <p:sp useBgFill="1">
        <p:nvSpPr>
          <p:cNvPr id="321" name="Text Placeholder 2">
            <a:extLst>
              <a:ext uri="{FF2B5EF4-FFF2-40B4-BE49-F238E27FC236}">
                <a16:creationId xmlns:a16="http://schemas.microsoft.com/office/drawing/2014/main" id="{A249D570-C311-B7E3-1485-E450FADE2AC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5491163" y="908843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D1FE8D-245E-47C9-8FC5-EF318BC99208}" type="datetime'''''''''''''''''''-''8''''.''''''''''''''''''4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.4%</a:t>
            </a:fld>
            <a:endParaRPr lang="zh-CN" altLang="en-US" sz="1000" b="1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B794B5F-B43D-0975-434B-52B89107CDE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5553075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D5EE6D-5362-49E3-BC0B-92229C275602}" type="datetime'''''''2''''''月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0BA429C8-BACE-3223-8327-A0D900DB2A1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6513513" y="6916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CE757-D31C-4E52-8DB7-6D798CBE4F00}" type="datetime'''''''''''''''7''''''''''''''''''''''''7.''0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0%</a:t>
            </a:fld>
            <a:endParaRPr lang="zh-CN" altLang="en-US" sz="1000" b="1" dirty="0"/>
          </a:p>
        </p:txBody>
      </p:sp>
      <p:sp useBgFill="1">
        <p:nvSpPr>
          <p:cNvPr id="323" name="Text Placeholder 2">
            <a:extLst>
              <a:ext uri="{FF2B5EF4-FFF2-40B4-BE49-F238E27FC236}">
                <a16:creationId xmlns:a16="http://schemas.microsoft.com/office/drawing/2014/main" id="{14679287-3FA1-BB93-743D-B4D503D425D8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6513513" y="7210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7AB3-3B1C-407B-861D-22DD6501860C}" type="datetime'''''''''7''''''''''''''''''''4''.''''''''''9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b="1" dirty="0"/>
          </a:p>
        </p:txBody>
      </p:sp>
      <p:sp useBgFill="1">
        <p:nvSpPr>
          <p:cNvPr id="234" name="Text Placeholder 2">
            <a:extLst>
              <a:ext uri="{FF2B5EF4-FFF2-40B4-BE49-F238E27FC236}">
                <a16:creationId xmlns:a16="http://schemas.microsoft.com/office/drawing/2014/main" id="{60DCDCDE-DE91-7B3A-F78F-F1D4F0E26FD3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6513513" y="79851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3665F0-0A5C-4BC3-A02E-6ECF2DB67B4C}" type="datetime'''''''''''''4''2''''''.''''''''''''''6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b="1" dirty="0"/>
          </a:p>
        </p:txBody>
      </p:sp>
      <p:sp useBgFill="1">
        <p:nvSpPr>
          <p:cNvPr id="235" name="Text Placeholder 2">
            <a:extLst>
              <a:ext uri="{FF2B5EF4-FFF2-40B4-BE49-F238E27FC236}">
                <a16:creationId xmlns:a16="http://schemas.microsoft.com/office/drawing/2014/main" id="{797EE78A-9753-1BA0-A1B1-6C2DA42B716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283325" y="7621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40C3E7-6087-4A49-BF02-C9EE9D69D8F7}" type="datetime'''''''''''''''''''''''5''''2''''''.''''''''''''7''%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2.7%</a:t>
            </a:fld>
            <a:endParaRPr lang="zh-CN" altLang="en-US" sz="10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42F8D311-7E6F-4477-17A1-839727351EF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589713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6CE807-F47E-46DE-B463-04BBF1A07AF9}" type="datetime'3''''月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C675B48C-1702-8807-FC1D-F918F497EAA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7550150" y="6975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830D4-CFC8-4B8A-A6F4-28911A40FA91}" type="datetime'''''''''''''''''7''''''''''4.6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6%</a:t>
            </a:fld>
            <a:endParaRPr lang="zh-CN" altLang="en-US" sz="1000" b="1" dirty="0"/>
          </a:p>
        </p:txBody>
      </p:sp>
      <p:sp useBgFill="1">
        <p:nvSpPr>
          <p:cNvPr id="236" name="Text Placeholder 2">
            <a:extLst>
              <a:ext uri="{FF2B5EF4-FFF2-40B4-BE49-F238E27FC236}">
                <a16:creationId xmlns:a16="http://schemas.microsoft.com/office/drawing/2014/main" id="{2B3F894D-1322-5D86-909D-C929B11FAB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7550150" y="75469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1837AE-1B18-481A-BDCA-800D5B3E6C80}" type="datetime'50''''.''''''''''''''8''''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8%</a:t>
            </a:fld>
            <a:endParaRPr lang="zh-CN" altLang="en-US" sz="1000" b="1" dirty="0"/>
          </a:p>
        </p:txBody>
      </p:sp>
      <p:sp useBgFill="1">
        <p:nvSpPr>
          <p:cNvPr id="238" name="Text Placeholder 2">
            <a:extLst>
              <a:ext uri="{FF2B5EF4-FFF2-40B4-BE49-F238E27FC236}">
                <a16:creationId xmlns:a16="http://schemas.microsoft.com/office/drawing/2014/main" id="{D714F198-3F44-1DC8-6C90-C11987CD495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7319963" y="77835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5FED36-499C-404D-B930-8888AEE522B3}" type="datetime'''''4''6''.''''0%''''''''''''''''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b="1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0A5DFB3-6587-14C9-BDF0-A1DB122EF862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331913" y="8132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487565-CCF6-41A8-B962-EECEB69261F4}" type="datetime'''''''''''''''3''''''''''''6''''''''''.5''''''''''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D25E7F5-3CDE-51ED-313A-5F8B67587C6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7626350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F5C79-2BE3-4D1E-B977-87F7910ED9F7}" type="datetime'''''''''''''''''''''''''4''月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325" name="Text Placeholder 2">
            <a:extLst>
              <a:ext uri="{FF2B5EF4-FFF2-40B4-BE49-F238E27FC236}">
                <a16:creationId xmlns:a16="http://schemas.microsoft.com/office/drawing/2014/main" id="{28E8E794-E4FB-AF8C-2DD5-FDA56644412F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8585200" y="6870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C6EEB-5BCD-49E6-997F-4C924F426796}" type="datetime'''78''''''.9''%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9%</a:t>
            </a:fld>
            <a:endParaRPr lang="zh-CN" altLang="en-US" sz="1000" b="1" dirty="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9BF3C40B-7838-5FF8-C6E9-D929E92FC722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858520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19F03-15ED-4CB0-A660-F1CAE0E1FDFD}" type="datetime'''''''''''''''2''4''.''''''''''''''''4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CCC65C8C-341A-214A-942A-F5B6502996A8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8585200" y="79819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1D2FC-95F6-495E-90CC-A2CA3E285DCF}" type="datetime'''''''''32.''''''''''''''''''''''''7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7%</a:t>
            </a:fld>
            <a:endParaRPr lang="zh-CN" altLang="en-US" sz="10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230FB558-1CEB-0B1D-CED9-50B2D3DC472F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8816975" y="8147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4A595A-1EC8-4BFF-9981-3F590E3CC050}" type="datetime'''''3''''''0''.8''''''''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8%</a:t>
            </a:fld>
            <a:endParaRPr lang="zh-CN" altLang="en-US" sz="1000" b="1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A56BEB96-6962-1A2F-0AAA-ADD759DDC29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331913" y="7516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DB5863-A40B-4214-943D-B0DCFFDFDBF6}" type="datetime'''''''''52''.''''''''''''''''''''''''''0''''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0%</a:t>
            </a:fld>
            <a:endParaRPr lang="zh-CN" altLang="en-US" sz="10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2BB1F52-BB32-8E9B-FB00-AD7EFCD1740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855345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C7964E-41CD-4864-BACE-361596BBF9CD}" type="datetime'5''''''月''''''m''''''''''''''''''''''''''''''''t''''d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6ACE745-A1DD-5F6C-8273-10ECF7CEE19F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440848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88DACA-D610-47FB-B065-A89E9DBD3915}" type="datetime'''''F''''''''''''''Y''''''''''''''''''27Q''''1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344" name="直线连接符 343">
            <a:extLst>
              <a:ext uri="{FF2B5EF4-FFF2-40B4-BE49-F238E27FC236}">
                <a16:creationId xmlns:a16="http://schemas.microsoft.com/office/drawing/2014/main" id="{78136D36-B2D9-572D-F7F9-A1A0B3AFF262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950913" y="1197768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直线连接符 337">
            <a:extLst>
              <a:ext uri="{FF2B5EF4-FFF2-40B4-BE49-F238E27FC236}">
                <a16:creationId xmlns:a16="http://schemas.microsoft.com/office/drawing/2014/main" id="{7F455BB7-47EB-B315-CE9B-64AAE1ADD9D6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8096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直线连接符 341">
            <a:extLst>
              <a:ext uri="{FF2B5EF4-FFF2-40B4-BE49-F238E27FC236}">
                <a16:creationId xmlns:a16="http://schemas.microsoft.com/office/drawing/2014/main" id="{0CDC5088-2EB4-C782-0D5C-28A2A0B2A173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95091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直线连接符 339">
            <a:extLst>
              <a:ext uri="{FF2B5EF4-FFF2-40B4-BE49-F238E27FC236}">
                <a16:creationId xmlns:a16="http://schemas.microsoft.com/office/drawing/2014/main" id="{9155BCB0-7E6E-C07F-3B3B-D76E19BD8BD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80963" y="1197768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0440638E-E060-B263-B966-46F74F4150E8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48418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DF4371-8EE7-4E43-810E-1823CF860092}" type="datetime'''''''''''''''''''''''''''''''电''''''销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F9C37EA-83F8-09EB-0F4F-623308EE52E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484188" y="11895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8EFC6D-BF8D-4D1A-AF8F-D4A800B41E98}" type="datetime'''''''''''''''''''''''渠''''''''道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0F31D9D8-583E-370B-985B-D04D8EFA4BCA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354138" y="11895138"/>
            <a:ext cx="16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283283-F7EA-486B-B787-40E3FAFA56B3}" type="datetime'a''''''''''''''''''''''''''''''''''''l''''''l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kumimoji="1" lang="zh-CN" altLang="en-US" sz="1400" dirty="0"/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DF79A4D2-F5B2-C27B-EEE6-F30CA21E0F1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35413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C0ADEE-FC49-4D0D-8237-45CF71144C4A}" type="datetime'''直''''''''''''''''''''''''''''''''''''''营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E5ED3896-850F-3BCC-CCF6-B7A947977F20}"/>
              </a:ext>
            </a:extLst>
          </p:cNvPr>
          <p:cNvSpPr txBox="1"/>
          <p:nvPr/>
        </p:nvSpPr>
        <p:spPr>
          <a:xfrm>
            <a:off x="9868696" y="2879727"/>
            <a:ext cx="1831079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总收入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团队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B64C79F-637C-1DD9-C7B2-D4FA6C7B2E02}"/>
              </a:ext>
            </a:extLst>
          </p:cNvPr>
          <p:cNvSpPr txBox="1"/>
          <p:nvPr/>
        </p:nvSpPr>
        <p:spPr>
          <a:xfrm>
            <a:off x="10133808" y="6155812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团队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393815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E7E73-A428-B97A-638A-EE8ACC7EB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9B2DF0-ED90-407E-0208-8DA58F7D33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869854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4736AE89-9A65-6377-16BF-DE3CA5056F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957346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E8425477-378B-D4B4-293B-C610DE753BB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EFB6202A-5144-47BB-F96E-B4BCFC8814E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E045A586-9150-DEC3-29B8-DF60787E2D8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15105D0-91CC-6657-7A5E-303FE965831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D49F1C-D7EE-0F85-B94E-016FC499063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5361584-88C6-9ED2-A638-71890C920F2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BEBC6884-37B8-E9BD-228A-7649710223B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6B5B57-F58A-114A-B876-A8B61B969CF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D89EA53-AF6A-EA1C-726E-E98F1E5EDDB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CA18B3F-70A6-275C-59D2-8D4A03ADBC9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1CC49A4-30A4-E217-28C4-CB133BA44DF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BACB5C-70AB-C883-1D62-055103221F4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32EA88C-B9C4-CED6-C943-FB1918883A9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A6BD552-9FAD-9CE8-FE31-AE62D3CAB9C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77BE60E-38BC-D1CA-6416-9504C40E11C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1175FC0C-57BE-1B73-93A3-9C0E93EBAA8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8E15C6E2-EB64-135B-A4ED-7A96A381E1F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754D4B0-2DE7-54A3-81AD-6268573892F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E60089-C418-5362-348F-F4DEB9B0CCC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87051402-CE9F-C155-7A59-9A0A0C41DD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9D8614F9-B7DA-F476-C993-E12F6F17B53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9A1B5BB8-A81E-C427-24CF-E8970FF90805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7406448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144A352E-A0E2-AC43-8D70-897EF9FD0F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AD930CC-1BE1-DFE1-9FC5-1A8F97B05F7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6667F64-6B7F-F26E-6060-38B9EABDAFD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820764B-EC03-32F5-0D61-203DC5C1D2C4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3B91184-533C-E835-D1CB-D308592412D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FCE9BE95-43D0-C2E6-4CEE-0EC05150B67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B0C8BDE4-D21A-128A-67EF-5B456E044C9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912AC64F-142E-3AB7-93F8-F80441B4819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0818661E-4A20-1B47-B6CA-C39E7F66828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A73BCBE-DD27-67B2-263C-3D6B443F799F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F64D47A-1546-D907-88D5-2DBC2698A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3AF5EDC2-3639-AEB0-CE62-912D2FEAAB43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DE90C061-87C2-AC6B-4488-F8B096BC10B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7EC98D38-C9FC-9F53-F148-09FA8F507DD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3609788E-3D58-9EDA-775F-E8E2F2F2855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1F42DDFE-7E3B-1A31-8AB3-56CE329993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E8A99B65-511B-2C7D-9E96-77C129158969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2CE7FBC1-E340-0A42-87FF-0EEA44FB84C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6B92B73E-4703-5779-1D80-632CA5EC469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52C06F19-C909-09F1-0944-8E3DE2DC99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E5085A9-8891-8B13-8AFE-8575747DDC1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C4D92C19-C3DF-74A9-8FE8-A6CF39941260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75005400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8774917C-0AE1-64A2-5510-A5610A763B3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88DC3794-27D3-466E-4DF3-A6A4D11E248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E1627C50-3A31-B78C-3FC1-C58C66DF6CB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8742EE0D-0CC5-0B6E-A41E-5675FCAEE77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341AB824-1F3C-3407-7E00-AD1AF89FE7F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C46A85D9-F88C-A5DD-C0CC-1370207EBB5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12226DAC-EAA2-C1FA-FF60-D5E7DB00870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ADA10989-C850-F557-9CB4-1503654BC4F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3116BED0-5114-4381-51EF-995E4D535D0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C3F1C5D2-7B7F-5D06-663A-538BACB1F2B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D4F5A6F1-E332-69F7-E3B5-F85FB73530E3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B2635521-33B4-7830-3942-42AC582C87C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33A35628-E2D7-89AB-22D4-976C22A1E6C1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E83C1836-30B3-809C-B236-1EE9305779B3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2F89934B-3981-39FF-F015-15DE6B94A40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AF420D37-B04E-20BD-25D1-39CF7A52635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7B0D0F83-1C26-61C4-2F58-96C0853CAF9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EFC5199A-C6C3-FD10-AFC9-647BAFE1D4D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16755EE7-D719-34B4-9638-192344E53979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0FD54186-574D-86AC-1F8A-D2E95C55BE6B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5319784B-715F-4994-8B83-7C4B4DFBAE33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CBFE059-DECC-ED1F-3BEE-E72FFE063088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921624338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62BD7BFE-E7FE-5DCF-57AC-CCC3A3B90D0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98530184-8C74-9FC1-45BC-3463076C1BB4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A1A974D8-53FE-1655-5AB8-E046A31BB35E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08328C81-4EE3-58BB-687C-0A81DB076867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8AD0CAA7-DB6C-335E-BE01-09903BBED07E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C18374E6-6386-199E-FBB8-A446B8B490B9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ED2B8A1B-BD8C-DE11-8947-8FBC46C40CC8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949886B-C657-EC39-826C-47502955CCC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38CAD3DD-57B7-8A4F-1F40-01E0B8C365E6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4562DA38-BC29-8BC1-B845-9F2AD1A70E2E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E2CDECFE-E357-9009-5A2B-E22DD1A19875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81C56B49-CA56-D2A7-9DFD-490680D507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DF562204-A251-5AB1-8726-2F294C0D4552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8A4B5922-56C3-2114-2CFC-6F809851512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DEF42E98-7039-4C9D-0681-42A7B8DDB55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B060C51B-F346-3259-6431-9AFD35AEDBE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74EDF818-5875-5F48-6298-FC101B35DDE8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91EBE5E2-E662-13D8-8F6E-84D1A54BF36A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AEA944F-EEBA-2336-F73D-542CB4802B3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8EC7F667-6B48-FDF7-75BD-E2982BF907E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A7CF5C18-812F-7362-255A-1F9EF8E832DC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1C1BEF97-B386-A9CD-8D26-E669B0AB650F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7DDA1C0E-8412-0E7C-B090-04DCD141B5D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7D3CA6F6-04E8-B194-D504-61C573E8FDA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136B31ED-E900-0BAB-0163-E3506DBAB4F1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E1F1290D-7A21-8594-3F21-B59C64AD3F1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03201CA9-87E4-BBC7-216C-705EAFF48145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02C16B84-245A-7A75-8AF5-4E92B7678A80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DFAE96AE-B947-7D8C-ACCD-9F316EB2F71A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18E422D7-26D5-608E-5B25-6C8D315E32AC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4D0A7763-A5C5-235B-562F-0E9499E9E620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70727012-64F9-24C7-7E0C-D8E1E73A31C3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02EE162E-0353-14FA-4E26-542C8660A09F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42E211DB-3AE4-73B5-C262-787C3CE39EAF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05F7F32A-6047-2966-D6F0-B26B7BD839A0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CEF23066-15B3-065E-1D3F-F8E2AE5074AA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D6D5935-04C3-F67F-FA1A-FE2FEA080DC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B3775FBB-911D-0535-AB3A-36C621C7345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A43EF41A-FFBB-9CD7-F321-9E8EFCF4FDC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C77C4BD-5FCF-B229-43D0-2D0025A2CAA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09303170-CA88-754A-9C27-8565A450E464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9E8578DC-BE46-8C4B-4620-C646574B615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347CF1E1-96A6-0027-1900-B342D8217CE7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8525ED6-E3C2-42DE-2AEC-33223FF93AE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F12351BF-E950-153C-99ED-A8BC523591FC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058A3D70-246B-7DA6-BAF2-F3A62459F87C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06BC842-70A9-931A-F468-8616FD583735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EE84531E-F718-7B66-4C3C-0E09461C172F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3B506B67-29FC-4EDA-3CE5-38A84CAD81D5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CA8B2A8E-EA65-CFF9-4C40-2C9DD02EAAE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E12D2937-CDEA-3451-A4EE-0A52F4F7DB91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0838AEC9-AF7E-D9CC-2B42-93D58EE8CA8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A9719437-742F-1C1F-E7D6-2E6820D5E869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27D81AA3-A7EC-563F-062B-BB9233D5AC62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BD1BA839-6EAC-BB49-5D65-F0F2B6804B0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EBCC1E5E-C6FA-D38E-BB8E-E55E7DEA4A21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960BEAC2-27A6-48D4-41E1-D06CF75A79AB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AE6EE5C2-F908-AA24-D2C1-C7FA1C1DE56D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CEECC1B3-B1DB-3594-6070-1FC36429E2A4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F8EF3E48-9529-B304-16CA-C41D6786FA01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6AAF11BD-7878-488B-3C15-712F2DEF44B4}"/>
              </a:ext>
            </a:extLst>
          </p:cNvPr>
          <p:cNvSpPr txBox="1"/>
          <p:nvPr/>
        </p:nvSpPr>
        <p:spPr>
          <a:xfrm>
            <a:off x="10313700" y="6160573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</p:spTree>
    <p:extLst>
      <p:ext uri="{BB962C8B-B14F-4D97-AF65-F5344CB8AC3E}">
        <p14:creationId xmlns:p14="http://schemas.microsoft.com/office/powerpoint/2010/main" val="1948535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think-cell data - do not delete" hidden="1">
            <a:extLst>
              <a:ext uri="{FF2B5EF4-FFF2-40B4-BE49-F238E27FC236}">
                <a16:creationId xmlns:a16="http://schemas.microsoft.com/office/drawing/2014/main" id="{1B9F1333-15AC-8506-DB21-754287F8DDA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77652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3" imgW="7772400" imgH="10058400" progId="TCLayout.ActiveDocument.1">
                  <p:embed/>
                </p:oleObj>
              </mc:Choice>
              <mc:Fallback>
                <p:oleObj name="think-cell 幻灯片" r:id="rId1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14CC6F9B-83E4-A4BC-432A-9A94D042F9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44173"/>
              </p:ext>
            </p:extLst>
          </p:nvPr>
        </p:nvGraphicFramePr>
        <p:xfrm>
          <a:off x="685800" y="1217613"/>
          <a:ext cx="2362200" cy="214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8E7E335-C754-3262-D0BC-8BB2BCCAAB6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12800" y="1830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B2392-11F5-48A8-A8F8-266B1686B739}" type="datetime'''''''''''''''''4''''''''''''''''2''''''''.''6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AE6DFA5-4DBE-3CF4-01E7-A02F13A2B7B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12800" y="2719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47417-ECAF-4342-886C-01DE8C15E68A}" type="datetime'''''''''''''''''''''''5''''2.''''''''''''''''3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3%</a:t>
            </a:fld>
            <a:endParaRPr lang="zh-CN" altLang="en-US" sz="1000" dirty="0"/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D1FC4755-D11A-2074-898E-190095EF7E2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9113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DE3C6-BD71-4F8A-A6FE-F2E498B5ABA5}" type="datetime'''''F''''''''''''Y''''''''2''''''''''''''6''''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C540179-BB85-5A82-CEC5-DBDC9385AB8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7788" y="16970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772AE-4997-4C0D-B757-BF97056C2FF2}" type="datetime'''''''''''''''6''''''.''''''''''''3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2C8DF5F-2455-78B7-2FB2-8AA5FCE2A19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3975" y="2020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8AD345-11E3-4943-854C-1C9239B3D046}" type="datetime'''4''''''''3''''''''''.''''''''''''''6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6%</a:t>
            </a:fld>
            <a:endParaRPr lang="zh-CN" alt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2D2C06-A121-264A-2263-222C97179DD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3975" y="2795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46A5F7-050A-4F70-817C-5084AC3B3B91}" type="datetime'''''5''0''''''''''.''''''''''''''''''''''''''''''1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1%</a:t>
            </a:fld>
            <a:endParaRPr lang="zh-CN" altLang="en-US" sz="1000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EA950728-BE68-A51E-F526-BFA4FE50895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50950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A71CB-2DAE-43D1-B4DE-7048FC3F0736}" type="datetime'F''''Y''2''''''6''''''''''''''''''''''''Q3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ED2E52-04A1-F64E-4A80-CB3F2871FE4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081213" y="1403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039A47-0B26-40EA-8CAA-1B988ECC6C17}" type="datetime'''''''''''''5''''''''''''''.''3''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B296B84-5983-D486-A599-F3AB5FE9C37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057400" y="17907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036AF1-EA81-410C-8C5A-9C43565997B5}" type="datetime'''''''''''''4''''''''6.''''0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01255C0-9100-7873-3BEB-83444DB22B5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98513" y="1506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6D2408-4543-4B6D-9D2F-F288E4DA480F}" type="datetime'''''''''''''''''''''''''5''''.''''2''''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43C1E269-3E70-6D43-1F44-537814AAE2B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984375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3D320-611B-4885-913E-77F128027830}" type="datetime'''''F''''''Y''2''6Q''''''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0FFC7F2-C157-924D-A45B-0E61F05582A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633663" y="2138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7327B-50CF-4E5A-B6A4-3637127C2489}" type="datetime'''''6''''''''''''''''.''''3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B93AB52-D87F-7C08-CEF4-1AFEAA5BBEC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568575" y="23939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7B039-FCF4-4EC7-B3FB-344568830067}" type="datetime'''''''4''0''''.''''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lang="zh-CN" alt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F063B1-7960-3E03-BBAB-31057EE73AA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568575" y="2913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49EF3-DB33-4DA7-9E1D-585C1F0B08F1}" type="datetime'''''5''3.''''''''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7%</a:t>
            </a:fld>
            <a:endParaRPr lang="zh-CN" altLang="en-US" sz="10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DFAF27C9-C494-17E2-7BF9-718304296AF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649538" y="33289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CD684-6FE3-4DC5-B1D9-5FE8028DDCAF}" type="datetime'''F''''''''Y''''''''''2''''''''''7''Q''''''''''''''1''''t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5EF3740-EAA5-403A-019C-A0FD1395633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00075" y="11414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894706-2AD6-40B2-9103-891252FDC10B}" type="datetime'7''''''''''''0''''''''''''''''''''''''''''''''''4''''''5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045</a:t>
            </a:fld>
            <a:endParaRPr kumimoji="1" lang="zh-CN" altLang="en-US" sz="1400" dirty="0"/>
          </a:p>
        </p:txBody>
      </p:sp>
      <p:sp useBgFill="1">
        <p:nvSpPr>
          <p:cNvPr id="22" name="Text Placeholder 2">
            <a:extLst>
              <a:ext uri="{FF2B5EF4-FFF2-40B4-BE49-F238E27FC236}">
                <a16:creationId xmlns:a16="http://schemas.microsoft.com/office/drawing/2014/main" id="{D77BAB71-D5BF-09F9-8012-FA30E6864FF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93813" y="14097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9FCF1-294A-45F1-9425-0E3D22A3DD19}" type="datetime'''6''''''''''''''''''''''''''''2''1''''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1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495FF4E-4CD6-04D0-7C60-D63167274E2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984375" y="10255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C61B3-FD0E-4E50-BA03-B714F0CF5E80}" type="datetime'7''''4''''''3''''''''''''''''''''''''''''3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433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5A0C654B-28EB-C313-CC42-D25F9E4609E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759075" y="19573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8B258-A12C-4C97-93CD-686D08C51B10}" type="datetime'4''''''''''''''''''''''''1''''''''5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57</a:t>
            </a:fld>
            <a:endParaRPr kumimoji="1" lang="zh-CN" altLang="en-US" sz="1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BFED368-3CA7-EE37-EE52-EBCD88AE53E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057400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DC79D-C9A1-4A1A-9845-90770BE0F9F2}" type="datetime'''4''''''''''''''''8''''''.''''''''''''7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52BC54F-4464-E191-952C-EE0FA0C2877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180263" y="56642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E7F66FD-2D07-1223-B582-6969BE41CF0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39088" y="56642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14550A8-8F39-2C86-2328-24AB673DAF7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697913" y="56642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1AF4BBF-32C5-8DC0-18AC-4C6412FF1A7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48188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480D39-C58B-4D49-8F39-A236747D4CB4}" type="datetime'''''''电''''''''''''''''''销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B43443-812A-153B-3914-846A5C62C4E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240713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124AA8-839F-4508-A0EF-137CE98C4AE8}" type="datetime'''''''''''''''''''''''''''''''渠''''''''''''道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97B1D2E-ADE3-5E71-8CE6-995C7A164C0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99953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E64D62-E21E-43D9-829E-A32FE588E17F}" type="datetime'''''''''''''直''''''''''''''''''''''''''''''''''''营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27522B3C-BF94-5BBB-A1EE-61AC5403648F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21910317"/>
              </p:ext>
            </p:extLst>
          </p:nvPr>
        </p:nvGraphicFramePr>
        <p:xfrm>
          <a:off x="7156450" y="1106488"/>
          <a:ext cx="287020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A4D40D2-0A2F-7BC9-5D37-89925D3FCFE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283450" y="26527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B3D7C-9C07-4AC1-9B17-C27ACA108AE1}" type="datetime'''''4''''4''''''''''''''''''.''2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98BAD2F-91C5-A9BD-29EB-DE7DDFB0B64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283450" y="2997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1E6C1-422E-4DB0-828B-521F0C4AFB86}" type="datetime'''4''''''''''''''''''''''9''''.8''''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8%</a:t>
            </a:fld>
            <a:endParaRPr lang="zh-CN" altLang="en-US" sz="1000" dirty="0"/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0DDCCE1E-CBC5-3808-73FA-A1306C60D91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1183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4BE7DE-EB76-491C-B538-07B5C1F16838}" type="datetime'''''''''''''''''''''''''''2''''''''''''''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4D691D4-AE4E-78EC-686A-3719461F5E1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023225" y="1360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FF0B6D-02D4-45E9-BFC1-848237FAEAF9}" type="datetime'''''5''.''''''''''''''''3''''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F2C2600-D7C1-C54E-E80E-7013ED686B1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7981950" y="1862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BF9512-E36B-4A39-A2A1-C108792C8F70}" type="datetime'''''''''''46''.''''''''''0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7AF60C1-806E-322E-7456-DA1D5EFE756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964488" y="267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F0370-FA8B-4508-9191-3D2C27CA06C5}" type="datetime'48''''''''''''''''''.''''''7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6A6009A5-005C-C6B4-D43E-6F0BCCF71F9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0200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B7E-7AB9-43DE-BD38-9CE67FD22CB6}" type="datetime'''''''''''''''''''''''''''''''''''''''''''3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025CF2D-A07A-463B-62F6-04324A4AF7B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8878888" y="1784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AB92FE-077E-4877-8764-ED6CF769B5D5}" type="datetime'''6''.''''''''''0''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74070C5-8C00-7F16-268D-35A039C4F6F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8867775" y="2120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6F620-83EC-47C6-8E6B-6AFDC974AD67}" type="datetime'''''3''''''''''9''.''''''''''''''''''9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714035B-384F-FDCF-845F-7E978B04027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283450" y="2470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CFBDB7-8B52-4452-B4BD-0C28683CF1A1}" type="datetime'''''''''''''''''''''6''.0''''''''''''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5A7DD571-349B-C249-1DF3-007C68A501C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9217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1F328-6A32-4F55-B996-001311C24D69}" type="datetime'''''''''''''''''''''''''''''''''''''''''''''''''''''4''''月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589753E-ADDC-281F-D509-E4C8A19F6745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612313" y="24495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AF4AB-A81A-4C99-A08C-83FCFEDF219B}" type="datetime'''6''''''''.''''''''''''''''''''8''''''''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4EBFF26-5FB3-B1C0-AAC3-580BBD766C3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547225" y="26273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8397A-8B9C-4865-8637-E0B4CCCF105A}" type="datetime'''''''4''0''''''''''''''''''''''''''''''''''''.''''3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F7D5D3A-243C-D2CD-06BC-447D6414938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547225" y="2979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D3A50-3280-433A-A92B-61D9234000FF}" type="datetime'''5''''''''''''''2''''''''''''''''''''''''''''''.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9%</a:t>
            </a:fld>
            <a:endParaRPr lang="zh-CN" altLang="en-US" sz="10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3520197-29F1-5863-143D-49C94C34B1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94863" y="3297238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4F2B9-D445-401E-96F4-CE0FE2978E95}" type="datetime'''''''''''''''''''''5''''月''''''''m''''''''''''''td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AD6A7AD9-4B88-CAD7-23EF-C788F91400C0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032625" y="23018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8CE156-FF9C-4F5D-A756-5EAB2E820108}" type="datetime'''1''''''''''''3''''''''''''''''''''''0''''''''''''2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2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ED79A22-147E-90D3-89ED-972F1DC41F9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7934325" y="9747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8D6BFF-6920-4E04-AB02-EFD187020367}" type="datetime'''''3''''''''''''''''666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6ABB03B4-FA2A-73DA-775A-56263283BB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8836025" y="14525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56916-F0DF-45C2-9EB5-BC97489FA3E3}" type="datetime'''''''''''''''''2''''''''''''''''8''''''1''''''''4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4</a:t>
            </a:fld>
            <a:endParaRPr kumimoji="1" lang="zh-CN" altLang="en-US" sz="1400" dirty="0"/>
          </a:p>
        </p:txBody>
      </p:sp>
      <p:sp useBgFill="1">
        <p:nvSpPr>
          <p:cNvPr id="57" name="Text Placeholder 2">
            <a:extLst>
              <a:ext uri="{FF2B5EF4-FFF2-40B4-BE49-F238E27FC236}">
                <a16:creationId xmlns:a16="http://schemas.microsoft.com/office/drawing/2014/main" id="{70B3B445-3D89-FC07-4228-421BE72F4AC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737725" y="2278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9BEEC-3065-48A0-81E1-122D14D0919B}" type="datetime'''''''''''''''''1''3''''''4''''''''''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43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84B8D1-CB67-8BE4-5178-7AA9E55AA6D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866188" y="2751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D9C8B6-88E3-4540-817D-FD3CEC15CEF0}" type="datetime'''''''''5''''4''''.''''''''''''''''''''1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1%</a:t>
            </a:fld>
            <a:endParaRPr lang="zh-CN" altLang="en-US" sz="1000" dirty="0"/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6A841569-4592-8935-1463-A903D9FCC410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766337295"/>
              </p:ext>
            </p:extLst>
          </p:nvPr>
        </p:nvGraphicFramePr>
        <p:xfrm>
          <a:off x="14563725" y="1143000"/>
          <a:ext cx="2986088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DFC068B-46E7-7102-435E-509A97C8CE8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4690725" y="1662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56C9C-AC5F-4B78-8564-2C28E14B83B8}" type="datetime'''''3''''7''''''''''''.''''''''''''''''''''''''''''''''''8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1ECD9C5-7EA9-FAE2-5C74-AE2F77675CD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90725" y="2620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6EF78-22CF-4C42-AF52-3A445D0825DC}" type="datetime'''''''''''''''''5''''''6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3%</a:t>
            </a:fld>
            <a:endParaRPr lang="zh-CN" altLang="en-US" sz="1000" dirty="0"/>
          </a:p>
        </p:txBody>
      </p:sp>
      <p:sp>
        <p:nvSpPr>
          <p:cNvPr id="62" name="文本占位符 2">
            <a:extLst>
              <a:ext uri="{FF2B5EF4-FFF2-40B4-BE49-F238E27FC236}">
                <a16:creationId xmlns:a16="http://schemas.microsoft.com/office/drawing/2014/main" id="{20128D3E-707E-B0B5-E331-E0F7F73EE1D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5319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4F40CE-A0C3-497D-A1CA-CD74F908A039}" type="datetime'''''''''''''''''''''''''''W''''''''''''''''4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0866A90-52A4-F5AE-28E9-ED7B6A7B7AD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446375" y="1428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8DB4F-8FB5-4D24-BDF4-D7C406BDAB70}" type="datetime'''5.''''''''''''''''''''''''''''''''''9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BF1CC87-D108-B917-011F-8AABFC04D33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427325" y="1976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D7E7F5-FB1A-4A4B-AB95-42C3E4DE6D75}" type="datetime'''4''6''''''''''.''''''7''''''''%''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9D0E115-925F-2C45-A492-85E10AB4AB7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409863" y="2733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6C220F-B6B1-4776-B35D-7B4A6323D873}" type="datetime'''''''4''''''''''''''''7''''''''.4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BEFEA17F-F561-A8D1-6507-64353548DED6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4717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BF2DF-B9E7-4344-B5BB-0F7C7E7352CB}" type="datetime'''''W''''''''''3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8708117-131A-9388-1D86-345A61D32F4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384588" y="1754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6C0B59-002D-456E-8AEC-F460DCB5A154}" type="datetime'''''''6''''''''.''''''''5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8B3FED9-9C6A-1DCD-13CF-C027E285D16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352838" y="2114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4F951-F3EA-4B83-A1B0-4DCD470D98D9}" type="datetime'4''''''1''''''''''''''''''''.6''''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.6%</a:t>
            </a:fld>
            <a:endParaRPr lang="zh-CN" altLang="en-US" sz="10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7BED46C-A033-9943-33ED-34299BA34FF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4690725" y="12176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F62AD-339A-44D0-B813-BF7976113337}" type="datetime'''''''5''''''''.''''''''''''''''''''''9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6B0002EA-AE61-52BC-4DD3-D81F7979EE7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64131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15FF8-93E0-4161-9D72-0AD570010AC7}" type="datetime'''''''''''''''''''W''''2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F20F1D8-938F-219B-8D2B-11BA19C7B486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7135475" y="1487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62D32A-DFE3-4D34-8BC9-C9FA0831DFB4}" type="datetime'''''''7''''''''''''.0''''%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DE6DA1D-E991-C904-3C8B-941E85B33CE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70388" y="1901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E65158-E609-4698-9342-891E29A8F0B6}" type="datetime'39.''''''''''''''''''''''''''''''''9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3DEBE4A-B509-6E78-15A6-21F910274B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7070388" y="2725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0A6B5F-891B-45BE-AB22-454E1C8A790E}" type="datetime'''5''3''.''''''''''''''''1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1%</a:t>
            </a:fld>
            <a:endParaRPr lang="zh-CN" altLang="en-US" sz="10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24918762-8EF0-B3D8-C1D6-F41FE59E6EE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73529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F3F81-7D75-45FF-A2AC-D2A45D64BB45}" type="datetime'''''''''''W''''''''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D1E28A4-395D-46CB-080C-3C87A7BF25C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485938" y="10112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22916-B700-42FC-8B67-FECA4A4BAD0F}" type="datetime'''''''6''''''''''''''''''''''92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2</a:t>
            </a:fld>
            <a:endParaRPr kumimoji="1" lang="zh-CN" altLang="en-US" sz="14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26B8D06-4375-37D4-2D45-1883CAF14F92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5425738" y="10985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B3B69D-6388-4B5E-B587-01337D533F89}" type="datetime'''''''''6''''6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2</a:t>
            </a:fld>
            <a:endParaRPr kumimoji="1" lang="zh-CN" altLang="en-US" sz="14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7C4A60E-0D44-1789-586F-76B10E02486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367125" y="14081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FAF6D8-51C0-4F4C-9F00-7E0E58939771}" type="datetime'''''5''''''''''5''''7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7</a:t>
            </a:fld>
            <a:endParaRPr kumimoji="1" lang="zh-CN" alt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B52B202-A970-EEE3-BB18-2330DF86DE62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7241838" y="11557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5ABBAC-7506-4FE9-A9AA-6F30FCD88D50}" type="datetime'''''''''''''''''''6''''''0''''''''''''''''''''''1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1</a:t>
            </a:fld>
            <a:endParaRPr kumimoji="1" lang="zh-CN" altLang="en-US" sz="14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52894265-C13F-A54B-505C-241BCF9B8E75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351250" y="276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9AB83E-F6EC-4F59-A842-273C3536A1A2}" type="datetime'''''''''''''''5''''1''''''''''''.''''9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9%</a:t>
            </a:fld>
            <a:endParaRPr lang="zh-CN" altLang="en-US" sz="1000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5685A449-5AAC-8F51-369D-B3E7C7AFC02F}"/>
              </a:ext>
            </a:extLst>
          </p:cNvPr>
          <p:cNvSpPr txBox="1"/>
          <p:nvPr/>
        </p:nvSpPr>
        <p:spPr>
          <a:xfrm>
            <a:off x="10465596" y="2941640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23B79A28-47E2-A053-F69F-1FD9FED5F632}"/>
              </a:ext>
            </a:extLst>
          </p:cNvPr>
          <p:cNvGraphicFramePr/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407098746"/>
              </p:ext>
            </p:extLst>
          </p:nvPr>
        </p:nvGraphicFramePr>
        <p:xfrm>
          <a:off x="514350" y="6638925"/>
          <a:ext cx="8207375" cy="27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195" name="直线连接符 194">
            <a:extLst>
              <a:ext uri="{FF2B5EF4-FFF2-40B4-BE49-F238E27FC236}">
                <a16:creationId xmlns:a16="http://schemas.microsoft.com/office/drawing/2014/main" id="{8A9B95C2-D5C8-5231-63B8-731A99B574A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8150225" y="80295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A158518A-807C-27DC-0E75-9A25CB8DDB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119688" y="92821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674B9A19-79FC-3B78-C88F-6A6FB7BDDA26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 flipV="1">
            <a:off x="3109913" y="74914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直线连接符 98">
            <a:extLst>
              <a:ext uri="{FF2B5EF4-FFF2-40B4-BE49-F238E27FC236}">
                <a16:creationId xmlns:a16="http://schemas.microsoft.com/office/drawing/2014/main" id="{61386161-7567-EE2B-139F-9DDE6533E158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 flipH="1">
            <a:off x="1112838" y="72945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ED50ECBE-F4B0-93A9-1E03-A1E021B9045B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2105025" y="75485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A247736-8AE1-646A-ACD7-9844689C509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927225" y="7072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196EE-6ED3-4D5D-9796-258EA9436370}" type="datetime'''''''''''''6''''''''''''''''''3.''8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8%</a:t>
            </a:fld>
            <a:endParaRPr lang="zh-CN" altLang="en-US" sz="1000" b="1" dirty="0"/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6E4540A1-9800-3F35-0D3A-FFEE9AA97484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927225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D7DAA-C347-425E-ABF5-F270CA763077}" type="datetime'''''4''''''''''''''8''''''.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8%</a:t>
            </a:fld>
            <a:endParaRPr lang="zh-CN" altLang="en-US" sz="1000" b="1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5C7B160-184A-FFC8-9C9C-8CCFB692804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88900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0D07E6-AC7B-4538-A906-E42356E0942B}" type="datetime'''FY''2''''''6''''''''''Q''''''''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4469721E-9C15-7D40-C5A6-95CB6D3A11D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895475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53F224-F43E-4ABA-90A9-48C66219B5B2}" type="datetime'''''''''F''''''''''''Y''''''''2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2D0E834-7C33-621C-2B97-C5E984214B55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2932113" y="7531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2EB37-C7F2-4370-82AE-C286DF26CD20}" type="datetime'''''5''''''''4''''''.3''''''''%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 useBgFill="1">
        <p:nvSpPr>
          <p:cNvPr id="137" name="Text Placeholder 2">
            <a:extLst>
              <a:ext uri="{FF2B5EF4-FFF2-40B4-BE49-F238E27FC236}">
                <a16:creationId xmlns:a16="http://schemas.microsoft.com/office/drawing/2014/main" id="{0AEE1318-9DCA-DF81-506C-8EFB41260E2E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52525" y="72263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9224F2-D78D-4366-90AD-AAD36A492C71}" type="datetime'''6''''''''''''2''''''''''''''.''''''''3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193DFDC-B549-5331-4CCE-887198CDE7B3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2932113" y="6934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8555A-9A1E-42EE-9D41-DBB502B647F1}" type="datetime'''''''''''''6''''9''''''''''.''''''''''''''''8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8%</a:t>
            </a:fld>
            <a:endParaRPr lang="zh-CN" altLang="en-US" sz="1000" b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191A745-5A57-5101-C7C8-682CC97612C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932113" y="7762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9A2D34-5095-4554-B1F0-3A122805D296}" type="datetime'''''''''''4''''''''''''''''''''4''''''''''''''''.''''''''1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1%</a:t>
            </a:fld>
            <a:endParaRPr lang="zh-CN" altLang="en-US" sz="1000" b="1" dirty="0"/>
          </a:p>
        </p:txBody>
      </p:sp>
      <p:sp useBgFill="1">
        <p:nvSpPr>
          <p:cNvPr id="141" name="Text Placeholder 2">
            <a:extLst>
              <a:ext uri="{FF2B5EF4-FFF2-40B4-BE49-F238E27FC236}">
                <a16:creationId xmlns:a16="http://schemas.microsoft.com/office/drawing/2014/main" id="{6FA87746-FE07-F5A7-42A7-596C0D89A21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932113" y="7262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E8E43A-615D-4CA0-AE0A-172F9F729C8E}" type="datetime'5''5.''''''4%''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CB104BB-DB41-3B6D-F5BD-DC16EE4F7B52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900363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6D99C-E1ED-41F4-BF5B-42F74AADBA07}" type="datetime'F''''''''''''''''''''''Y''''2''''''''''6Q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A876B14-F632-DF52-7B19-3DC0870EC22C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937000" y="7023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6E0BF2-16DE-4C50-85AE-7D8E655678B0}" type="datetime'''''''''''6''''''5''''''''''''''''.9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2CF3F47-0648-EB13-CC82-D3DFD95F0F0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706813" y="8118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61D515-C9C5-468A-9B20-C065A7A9E435}" type="datetime'''''2''''''3''''''''''''''''''.''''1%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1" name="Text Placeholder 2">
            <a:extLst>
              <a:ext uri="{FF2B5EF4-FFF2-40B4-BE49-F238E27FC236}">
                <a16:creationId xmlns:a16="http://schemas.microsoft.com/office/drawing/2014/main" id="{721C7FCA-137A-D86E-45D7-C967B7993BC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937000" y="73929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76A2FF-FCAD-4AAD-A00C-F1D9900D28F8}" type="datetime'''''''''4''''9''''''''.''7''''%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2" name="Text Placeholder 2">
            <a:extLst>
              <a:ext uri="{FF2B5EF4-FFF2-40B4-BE49-F238E27FC236}">
                <a16:creationId xmlns:a16="http://schemas.microsoft.com/office/drawing/2014/main" id="{DE71F8BC-56DC-C35B-73D2-0E985B30483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3937000" y="78882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82403D-8EB1-4E4D-8276-E4BAEEC6667C}" type="datetime'''''''''3''''''8''''''''.''''6''''''''''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067890C5-F2A9-92D6-67B0-4E6FCC274267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390525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25D3E-122E-49E2-8BBE-47D1859E6DEC}" type="datetime'''''''''F''''''Y''''''''2''7''''''''Q''''''''''''''''''''''1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F947533-A601-E2D0-BB8B-BC187BF96FA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920750" y="6786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727087-613C-40EA-836B-6AA20152261F}" type="datetime'''''''''''''''''''''''''''''''''''''76''''.''3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3%</a:t>
            </a:fld>
            <a:endParaRPr lang="zh-CN" altLang="en-US" sz="1000" b="1" dirty="0"/>
          </a:p>
        </p:txBody>
      </p:sp>
      <p:sp useBgFill="1">
        <p:nvSpPr>
          <p:cNvPr id="111" name="Text Placeholder 2">
            <a:extLst>
              <a:ext uri="{FF2B5EF4-FFF2-40B4-BE49-F238E27FC236}">
                <a16:creationId xmlns:a16="http://schemas.microsoft.com/office/drawing/2014/main" id="{03A4D5B2-FA57-2A43-A248-9CE4B00C4DD0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4922838" y="91455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AC315-EC0A-4D8B-A2B9-2B3F3A39368B}" type="datetime'''''-''''''''''''''2''''''''''''''7''''''.''''''''''3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.3%</a:t>
            </a:fld>
            <a:endParaRPr lang="zh-CN" altLang="en-US" sz="1000" b="1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BA458F0-2532-F2F8-CB30-D6B771EBC0A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920750" y="7083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0D51AF-529D-40C0-9010-CBDE63A55C66}" type="datetime'6''''''''''''''3''''.''''''''''''''''''''''3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3%</a:t>
            </a:fld>
            <a:endParaRPr lang="zh-CN" altLang="en-US" sz="1000" b="1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504D5B3-C240-7785-D676-5930D83A0CD3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5018088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4271-74CD-458E-9A94-DF922AE4819C}" type="datetime'''''''''''''''''''''''''''''''''''2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07ECF9A9-EFB4-6BF9-8936-98045992E59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718175" y="7113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7066CA-7ADD-4C94-B889-C3FFAD4BB871}" type="datetime'''6''''''''''''''''7''''''''''''''''''''''.''''''''''2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216FBB56-00F2-44E2-3FC2-F74F4A8176A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948363" y="6532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44CB1-94CB-4B7C-AAE2-29AB3545888D}" type="datetime'''''''''8''7''''''''''''''''''''''''''''''.''''''4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4%</a:t>
            </a:fld>
            <a:endParaRPr lang="zh-CN" altLang="en-US" sz="1000" b="1" dirty="0"/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6C211480-7146-4EE8-EBF1-56F1BFDD891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948363" y="73612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5018C-DB16-4B45-9620-A2022BD6EA7E}" type="datetime'6''''1''''''''''''''''''''''.7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7%</a:t>
            </a:fld>
            <a:endParaRPr lang="zh-CN" altLang="en-US" sz="1000" b="1" dirty="0"/>
          </a:p>
        </p:txBody>
      </p:sp>
      <p:sp useBgFill="1">
        <p:nvSpPr>
          <p:cNvPr id="119" name="Text Placeholder 2">
            <a:extLst>
              <a:ext uri="{FF2B5EF4-FFF2-40B4-BE49-F238E27FC236}">
                <a16:creationId xmlns:a16="http://schemas.microsoft.com/office/drawing/2014/main" id="{41791812-8EBC-31DA-5B05-5DC5E00EE41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5948363" y="68627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47B38F-22D1-497F-81DF-6CDFEC02CFEC}" type="datetime'''''''''''''''''''''''7''''''2''''.''''''9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4D041042-4EDC-288F-680C-B38BBA9033E8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6024563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54BE6F-6613-4833-B9A2-3B60BD48CFDA}" type="datetime'''''''''''''''''''3月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624BC34B-DC7E-1064-6591-4084E94C55D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7100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A58382-1379-487D-84C6-76AAE0D9445D}" type="datetime'''6''''''''2''''''''''''''''.''''''''''''''''''''5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5%</a:t>
            </a:fld>
            <a:endParaRPr lang="zh-CN" altLang="en-US" sz="1000" b="1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4A48CC7-411B-BD71-9E56-5F66146CE18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819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055B6-6425-40A7-AFED-197B8B69B3B4}" type="datetime'2''''''''''''''''4''''''''''''''.''''9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b="1" dirty="0"/>
          </a:p>
        </p:txBody>
      </p:sp>
      <p:sp useBgFill="1">
        <p:nvSpPr>
          <p:cNvPr id="124" name="Text Placeholder 2">
            <a:extLst>
              <a:ext uri="{FF2B5EF4-FFF2-40B4-BE49-F238E27FC236}">
                <a16:creationId xmlns:a16="http://schemas.microsoft.com/office/drawing/2014/main" id="{21CD49BA-B24F-5E81-20BA-85805DF7E80B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953250" y="7453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107537-61C4-4ED5-9FE4-FA4E6660B9AA}" type="datetime'''57''''.''''''''''''7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7%</a:t>
            </a:fld>
            <a:endParaRPr lang="zh-CN" altLang="en-US" sz="1000" b="1" dirty="0"/>
          </a:p>
        </p:txBody>
      </p:sp>
      <p:sp useBgFill="1">
        <p:nvSpPr>
          <p:cNvPr id="125" name="Text Placeholder 2">
            <a:extLst>
              <a:ext uri="{FF2B5EF4-FFF2-40B4-BE49-F238E27FC236}">
                <a16:creationId xmlns:a16="http://schemas.microsoft.com/office/drawing/2014/main" id="{C4232740-5D95-ECC5-D9F2-E300E7E62E8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7185025" y="7664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D0B5B4-11BF-4ED7-9915-AF60D3ED727C}" type="datetime'''4''''''''''''3''''''''''.''1''''''%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A38FEE4-ACAB-1900-DD58-149AAF95463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6D5312-E0DB-4C37-B9A6-D8BCB2583CD6}" type="datetime'''''''''''''''''''''''''''''''4月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87338524-0827-C8BA-B0A0-002974C5580B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58138" y="69072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72479F-87A9-43D2-B207-2F79E546B078}" type="datetime'''''''''''''''''''''''''''''''7''1''''''''''''.0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247A2CE5-BCC8-EF8B-9EA7-2C25DEB5F54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8326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109701-B1DB-4502-83CD-AC14B3EADECE}" type="datetime'''''''''1''''''''''9''''''''''''''''''''.''''''4''''''''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0" name="Text Placeholder 2">
            <a:extLst>
              <a:ext uri="{FF2B5EF4-FFF2-40B4-BE49-F238E27FC236}">
                <a16:creationId xmlns:a16="http://schemas.microsoft.com/office/drawing/2014/main" id="{7932B48F-B98B-B14E-61A6-E39BF4869631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7727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07CE80-B342-4F08-B752-F9E7B6A2C3F6}" type="datetime'''''3''''''5''''.''''''''''''''''0''''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7DA1E70C-E703-A9FC-52F4-197A6B19F465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8189913" y="7961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68BD37-AF87-4837-A14F-CFB15C46E829}" type="datetime'''''''''''''3''''''''0''.''''0''''''%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95B37D-9D38-F0CC-591B-F653A31DEBF6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20750" y="7413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E0285-6700-4281-9B25-D36560ED38A9}" type="datetime'''''''5''''''''''''''''''''''9.''5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5%</a:t>
            </a:fld>
            <a:endParaRPr lang="zh-CN" altLang="en-US" sz="1000" b="1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0BE8B7E-F20F-8E2B-445B-80C773A1ADE7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926388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AA4412-B8BF-430B-8DD4-815FC88458DB}" type="datetime'5''''''''''''''月''''''m''''''''''''''t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110" name="Text Placeholder 2">
            <a:extLst>
              <a:ext uri="{FF2B5EF4-FFF2-40B4-BE49-F238E27FC236}">
                <a16:creationId xmlns:a16="http://schemas.microsoft.com/office/drawing/2014/main" id="{AB6F3FB7-E6FE-FD85-CD42-FC81E83DB49E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4956175" y="87360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BCAA8-2361-449B-9109-FAC45C4EEC1B}" type="datetime'''''-''''''''''''''''''''''''9''''''''''''''.''3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3%</a:t>
            </a:fld>
            <a:endParaRPr lang="zh-CN" altLang="en-US" sz="1000" b="1" dirty="0"/>
          </a:p>
        </p:txBody>
      </p: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CC0B59CB-F064-2EFA-B1F5-64559C5A8B6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1425575" y="12392025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54E0DCBE-7E09-F976-D235-CD59207CA89A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65722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线连接符 143">
            <a:extLst>
              <a:ext uri="{FF2B5EF4-FFF2-40B4-BE49-F238E27FC236}">
                <a16:creationId xmlns:a16="http://schemas.microsoft.com/office/drawing/2014/main" id="{4AFD660A-F91D-5B3D-FED9-081634B4505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142557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B9A1DB3F-5E0C-3F12-6200-94FA338E7370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657225" y="12392025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FB6417-9B4C-754B-BA77-B6E640E3806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06045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99E6A0-F54D-4E77-8E9B-F92AB9FBEA9E}" type="datetime'电''''''''''''''''''''''''''''销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35B7B89-41A4-9DAA-CB84-F61E56865F39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060450" y="123332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E8649F-B0C9-4658-BC75-4316D8E6DE23}" type="datetime'''''''''''''渠''''''''''''''''''''''''道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1479816-301D-E17F-5945-BB0A1C0D8E9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828800" y="12333288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710C6A-4585-4B26-B7B9-9F5E9388E7BE}" type="datetime'''''a''''''''l''l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47773D2A-12E9-137E-A1B1-955D0700223C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82880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0FF243-93C3-4E5B-9034-C1A6A45045DE}" type="datetime'''''''''直''''''''''''''''''''''营''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C588FE27-109C-BAC6-49CC-E71BF1076E31}"/>
              </a:ext>
            </a:extLst>
          </p:cNvPr>
          <p:cNvSpPr txBox="1"/>
          <p:nvPr/>
        </p:nvSpPr>
        <p:spPr>
          <a:xfrm>
            <a:off x="10182658" y="6151564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</p:spTree>
    <p:extLst>
      <p:ext uri="{BB962C8B-B14F-4D97-AF65-F5344CB8AC3E}">
        <p14:creationId xmlns:p14="http://schemas.microsoft.com/office/powerpoint/2010/main" val="1948425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3DBFAD-8371-9459-D119-6B7481AA3CF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96029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3" imgW="7772400" imgH="10058400" progId="TCLayout.ActiveDocument.1">
                  <p:embed/>
                </p:oleObj>
              </mc:Choice>
              <mc:Fallback>
                <p:oleObj name="think-cell 幻灯片" r:id="rId14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F85F7F0-ABFF-89CA-2E8A-20F2C54CFF5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075644"/>
              </p:ext>
            </p:extLst>
          </p:nvPr>
        </p:nvGraphicFramePr>
        <p:xfrm>
          <a:off x="514350" y="1096963"/>
          <a:ext cx="2686050" cy="21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5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CC995E0-9076-8780-90AB-40593C20BAF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8963" y="15081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FBAEAA-1F2A-4EDF-9B79-27EA1D66A0A9}" type="datetime'''''''''''''''''''''''''3''''''.''''''''6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6EDDB86-0F50-EEC2-9344-00CC14FA1D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254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FB979-5C1F-449E-8214-3728096615DE}" type="datetime'''8''''''''''''7''''''''''''.''8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1ECBA274-8286-8F90-D109-DFA5F9D892F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41350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2E30F1-9905-40F2-ABFB-FD18EA6ADDAC}" type="datetime'3''''''''''''''''''''''''''''''''''.''''0%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D288AE8A-75F5-7E46-79CF-A1678FB80A4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0434949-24F6-96E8-1685-54E7D283071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93813" y="11874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8BA2D1-9FB7-42B8-8055-23EC6648558C}" type="datetime'''''7''''.''''7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811CB37-2DC4-9407-AF70-112A2CD9CA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7463" y="13573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37DE20-3620-4712-AAEB-01531626AF10}" type="datetime'''''''''''''''''4''.''''''''1''''''''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33BEA7-3092-7222-41E9-708A8F3C8F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60475" y="2181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6FA79-DD2D-4B4F-8ADF-9E1D9A30DF12}" type="datetime'''8''''''''''''3''''''.7''''''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7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30BC7CBD-A18B-E61A-2ABC-24BBB614833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3813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B01F87-46C5-4D83-A446-6D4F6727C853}" type="datetime'''4.''''''''6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574F089-F21F-F8B4-F1D2-EFDA7FF41A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9F5FB0-174F-1FD2-E816-07A2C89CB6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35188" y="13049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0F67A6-8FA1-4088-B83E-F2C95EDF4E81}" type="datetime'''''''''''9''''''''''.''''''''''''''6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CDA4C8A-C1BD-0863-90B8-3F8FF30B938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8838" y="15001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C00B9D-FFEF-4854-8EF7-58682A86F00C}" type="datetime'''''''''''''''4''.''7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751F2D6-EB0B-38B7-42C7-7C9B38D8A09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41350" y="1339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0B4AB-B449-4249-B5C5-F331AA5EEBF5}" type="datetime'''''5''''''''''''''.''6''''''''''''''''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5BCAA91-58A7-BD8D-22BB-310486ACDA6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51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41445-32EC-42AC-852A-F85FC2F2666C}" type="datetime'''''''''''''''''''''''''''''5''.''''9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F76B7D6A-05FF-F813-571B-E44F172355C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8805AE9-4505-EBBF-B8FB-8843B87449B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3213" y="1919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7820BD-8BE6-42E1-BE7B-6340CA28FB96}" type="datetime'''''''''''''''''''''''''''''''''''8.''2%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C80E153-6A82-08C6-B185-711661B8414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86063" y="20447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BD4955-CAF7-4CA1-A143-5BD30AD82AB6}" type="datetime'''3''''''''''''''''''''.''''''''''''''''''''''4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E743A02-0DEC-CCE1-8B29-D392044E9A0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20975" y="2547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CDE603-3215-4C08-B88A-C0F232253840}" type="datetime'''''''8''''1.''8''''''''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8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F5EC898D-1067-2DF7-4694-BE9BA4914C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6063" y="30702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F7016-9AEF-4054-9C32-F4A40AC388A0}" type="datetime'''''''''''''6''.''''''''''''''''5''''''''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E7D24209-D768-0588-FAFC-A0C2B841D0B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782063BF-AB53-BA94-ED9F-86706A0F8B6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46075" y="11430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457B3-34D8-446A-9BEC-31BACE2DAF3D}" type="datetime'''18''''''''''''''''''''5''''''''''''''''1''''3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1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D28315A-9845-0A4A-C53A-B3AA6DCE7B6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C0DF8-1444-4163-ACCC-4260EF8292BC}" type="datetime'''''''''''''''''''''''''''''''''''''2''''0''3''''1''1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11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CEA50EF-A0EE-AEAC-FB2F-EB34FFB4EE6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27238" y="10683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51D9C-2346-4FD0-AA4A-FD2EE8ADDDBB}" type="datetime'''''''''''''''''''''''''''1''''''9''''''''''''2''''''65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65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F1CAE620-7489-63E9-90F1-2B487A3EC8B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4800" y="16827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7202BF-7A9F-4E82-A50E-5435E0482768}" type="datetime'''''''''''''''''1''2''''''''''''''''0''''2''''''''6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02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F7BB91-A0BD-045F-0801-7881F65A903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01850" y="2241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5A9D0-D07A-4CEF-8BDD-609A2BC4D97D}" type="datetime'''''''''''''''''7''9''''''.9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9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752572B3-1BA7-8AB2-1A66-14891DCB1DB9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83945794"/>
              </p:ext>
            </p:extLst>
          </p:nvPr>
        </p:nvGraphicFramePr>
        <p:xfrm>
          <a:off x="7731125" y="942975"/>
          <a:ext cx="2555875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51" name="直线连接符 150">
            <a:extLst>
              <a:ext uri="{FF2B5EF4-FFF2-40B4-BE49-F238E27FC236}">
                <a16:creationId xmlns:a16="http://schemas.microsoft.com/office/drawing/2014/main" id="{595875A1-A72F-7C9A-066B-D84E0B6C011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>
            <a:off x="7813675" y="2058988"/>
            <a:ext cx="3175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07E9B5-F9A2-76F2-1E02-D192F0DEC06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574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13791B-F821-4339-9EE5-429D7CAB4A69}" type="datetime'''86''''''.''''''''''''''''''2''''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E7609025-5946-6D0F-A1B2-D1532B079A8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6EF9BE-C53F-4199-BE2D-C00244292019}" type="datetime'''''4.7''''''''''''''''''''''''''%''''''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5FAA3E4A-E592-8063-A10F-E10E20629AF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014796E-BA2E-376F-1C5F-D636E2F18B5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1080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FD12C-D97C-46E6-A098-E4F592BA5CFE}" type="datetime'''9''''''.''''''3''''''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108FCBB-7AAF-7582-7C35-C29E315C2191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3208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3C76F-787A-442E-BBF2-C5BAB88803AF}" type="datetime'''''5''''''''''''''''''''''''''.''''''7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5C4A5F5-5956-CDFE-A9CE-ABC71A1C45A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078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EF6E99-CF8B-4A4D-97FB-EE7A74B1F26C}" type="datetime'''''''''''''7''''''''7.''''''''9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9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DA1F778-F1E8-0130-9B70-DA9F1249D49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591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47F0A2-A769-449C-98A1-8BF4C47D372C}" type="datetime'7''''.''''''''''''1''''''''''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82FE0013-8771-E3EE-EC16-B5BA341E024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E7DF1F1-C554-AE67-20A1-3D773936B94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2382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0CED5-D211-4E74-B4D6-916D97A91B9A}" type="datetime'''''''''''10''''''''''''''''''''''''''''''''.''8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DFFEAEB-B75A-7702-E479-12C1EC793FA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4906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DE84AF-3E08-4585-84F2-F8DAC1691F88}" type="datetime'''''''''3''''''''''''''.''''''''''8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8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B892DA-3F08-1626-A2E8-FD53C8CAC0E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231313" y="2154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A4DFA-EA83-4500-BA24-57CCA96496F0}" type="datetime'''''''''''7''''''8''''''''''''''.''''1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1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46AD47B-19F1-8950-356C-BBE5CDE8ED0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734300" y="20542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6CE79-3660-4985-A61C-5468877FB2A6}" type="datetime'''4.''6''''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15B126A7-2F24-FBE7-ECE8-E99954B814D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963F28A-5B7B-DF9D-E13E-133D27002A6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008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275634-C039-4B3B-A347-E8C10E0DA025}" type="datetime'''3''''''''''''''''.''''''''''''''''''''''''7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5FCE517-CCB0-A110-C6D2-A71DC61A6D7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1796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9FC088-9713-4D1E-BD1D-EF06EB523BA7}" type="datetime'''''''''''''''''''''''''''''''2''.''''''7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7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72F0358-3C84-7E31-C706-46F71EE6A2E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964C53-E1FE-4E7C-A85D-20FF148B5010}" type="datetime'''''''''''8''''''''8''''''''''.''''''''''4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4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DEA9935-4AC7-645F-F918-793AAAE6B7E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051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08AA6-FEAF-4B4E-86E2-9FA8430E94A7}" type="datetime'''''''''''''''5''''''''''''''''''.''''''''''2''''''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F22FFD14-E553-4859-FDBE-5CBF988C17C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A2D327AB-5E9B-B20A-4E6C-79FA17B9F9B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18669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93AFEC-DA1C-450E-AE84-327AA2F89A2A}" type="datetime'''''''''''''''''''3''''''''''8''8''''''9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89</a:t>
            </a:fld>
            <a:endParaRPr kumimoji="1" lang="zh-CN" alt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CAAFC6B-FF0F-ABA0-8737-CD9D3D7CDC5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729538" y="2200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EC7B17-602D-4F98-988B-BDFBC96E6E16}" type="datetime'''''''''''''''''4.5''''''''%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20C4E528-FAD3-7E77-11A2-5D5386FB7D3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DFFA59-0075-4045-8B87-6273FFA197A8}" type="datetime'''''''8''''''4''''''''''29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2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B23914F-40FC-0618-85CA-13EDA7802C1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201150" y="9906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5F026-D646-432F-92DE-DAD8BFECAD56}" type="datetime'''''''''7''''''7''''''''0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FAED6BCA-0D64-5B29-9B31-9F3E0776A27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998075" y="18224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EF5D53-A47A-499A-BA84-7A3457BAEC09}" type="datetime'''''''''''''''''''''43''''''''''''''''''''''2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24</a:t>
            </a:fld>
            <a:endParaRPr kumimoji="1" lang="zh-CN" altLang="en-US" sz="14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6FA1D38-EE04-E548-A3E7-7F958A1C159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9264650" y="29638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4A348C-8090-472F-B559-750C8DB43F27}" type="datetime'''''''''''''''''''''''7''''''''.3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4DDF4C51-AA54-2D77-C7C9-401F3DEA0BCE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075923628"/>
              </p:ext>
            </p:extLst>
          </p:nvPr>
        </p:nvGraphicFramePr>
        <p:xfrm>
          <a:off x="14500225" y="1096963"/>
          <a:ext cx="2847975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155" name="直线连接符 154">
            <a:extLst>
              <a:ext uri="{FF2B5EF4-FFF2-40B4-BE49-F238E27FC236}">
                <a16:creationId xmlns:a16="http://schemas.microsoft.com/office/drawing/2014/main" id="{E57FB3BF-1EFE-FD9B-8A78-13B456A97F1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7160875" y="1743075"/>
            <a:ext cx="58738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82626B54-AA5A-64F8-8536-91127B6B7C5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 flipV="1">
            <a:off x="15476538" y="1362075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2FA08CDB-D253-0D93-84F5-F73F364F2DB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627225" y="30686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05AC6E-5697-45DC-97D5-ED56CBC517A7}" type="datetime'''''''''''''''''3''''''''''''''.''''''''''9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7A7BA2A8-1E4B-73A9-9121-E8168B33F05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4468475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6751E8AB-6683-CC63-3879-1F9636E4AA78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336838" y="1419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9EDB1-59B9-4A62-8D79-EABFC414D447}" type="datetime'1''''8''''''''.''''''''3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AF2FD65-CDFE-92DC-13DB-6ACF293A838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2405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D0E80-99C1-4FA0-88BA-79550E93C5E4}" type="datetime'''''''7''''''''''''''7''''''''''''''''.5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5%</a:t>
            </a:fld>
            <a:endParaRPr lang="zh-CN" altLang="en-US" sz="10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452219E-8DEA-2CB8-AAD9-A5D78798434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317788" y="1674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796465-45E9-407D-A0FF-8DD8F29613B3}" type="datetime'''''''''''''''''''3''''.''9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D5C0AC0-C79C-A12A-5258-CE3D6A7FB3E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5300325" y="2208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D3845B-3F06-43C8-87F4-6046B14B9B39}" type="datetime'''6''''''''''''''''''''''''6''''.''''''''0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0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90C4E0A7-6497-AA93-BB47-E9C9EF1E9BE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5300325" y="298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57B8F-0C74-4C91-9828-C16785326064}" type="datetime'''''''1''''1''''''''''''''''''''''''''''''''.''8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BF624BE-AC14-FAC1-2470-CE882D81E6B7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536223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D9C9CADE-0AAE-617B-E98E-6E79CC8B0B6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227425" y="16779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873ACF-26A6-477E-9F06-AA316A3F23FA}" type="datetime'''''''3''''''''''''''''''''''''''.9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3B640E3-A1F1-7C26-CD71-0225184591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97263" y="17795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C59697-B808-4974-BFBF-09B01879623D}" type="datetime'''''''''''''''''''''''''''2''.''''''''''5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916DF99-4760-60A7-44CB-16BB78D8D64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546263" y="16383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FA169F-D35B-4653-8C16-FCF645E38EB9}" type="datetime'''''''1''3''''.''''9''''''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0E57972E-D5CA-A1AE-A325-6F76B00F500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229013" y="30829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1C228E-91EA-429E-84C8-332EA673024E}" type="datetime'''''''''''''''''''''''''''''2''''''''''''''.''''''5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C043978B-EED9-BAA6-39A0-BE429958727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1625758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98677027-08D4-30A2-B5B0-EA75915E27B3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970375" y="18288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9DF115-9025-466F-B4C3-D27D9CC8BCA3}" type="datetime'''''''4.''''''''''''''''''''''''''''''''''''''''1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8C24FFA-D131-3B23-177A-FAB4026F4CF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4627225" y="1736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CB5BD1-49AB-4941-9187-CAD1E78D6FEC}" type="datetime'''4''''''''''''''.''''''''''''''''''''''''''6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99B73C-3189-8371-095A-DD64F2B8609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968788" y="16938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84EB0-055F-4E8A-99C8-B0CB18AEEB95}" type="datetime'''''''''''4''''''''''''''''''''''''.''''''''''''''''1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16EE6919-5B21-B31C-A29E-128D66615C5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6868775" y="24114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ACB2A-29B6-4385-8E66-251F92FBCAAE}" type="datetime'''''8''''''''''''''8''''''''''.''''''''''''''''8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F6112FA-BBFB-D653-C607-AE767A43682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6933863" y="30781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7C50A-F481-4319-8230-511FD5299C43}" type="datetime'''''''''''''''3''.''''''''''''''0''''''''''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933C3E6A-6D43-447E-5892-DEE72FA993B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7151350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89" name="Text Placeholder 2">
            <a:extLst>
              <a:ext uri="{FF2B5EF4-FFF2-40B4-BE49-F238E27FC236}">
                <a16:creationId xmlns:a16="http://schemas.microsoft.com/office/drawing/2014/main" id="{BCD012B6-18F9-A4AC-6894-77079B38FF9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4376400" y="1327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EA604-AEE6-4FAE-957A-2E63FF182B5A}" type="datetime'''''1''''''''''''''''7''7''''7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7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CE51B25E-2712-26DA-1D31-CBCB5BB36BA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2A2450-8E71-45EB-B885-58AFF3E35929}" type="datetime'2''''''''''''''''''''''''''''''''1''''''''''7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1</a:t>
            </a:fld>
            <a:endParaRPr kumimoji="1" lang="zh-CN" altLang="en-US" sz="1400" dirty="0"/>
          </a:p>
        </p:txBody>
      </p:sp>
      <p:sp useBgFill="1">
        <p:nvSpPr>
          <p:cNvPr id="91" name="Text Placeholder 2">
            <a:extLst>
              <a:ext uri="{FF2B5EF4-FFF2-40B4-BE49-F238E27FC236}">
                <a16:creationId xmlns:a16="http://schemas.microsoft.com/office/drawing/2014/main" id="{6734CA92-AFE0-65E1-5B07-FB4D9BDF629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6165513" y="1443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BEC3-7D5E-495A-A07B-9F6255DD884A}" type="datetime'''''''''''''''''1''''''''''''''''''6''''''''''5''0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A337A36-2186-E7A6-D356-D2498C073B1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7059275" y="1501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297CB9-11FB-4DC0-BAD0-1F6FE8366413}" type="datetime'''''''''''''''''1''''''''5''''85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5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7CCEDEE-89FA-DF62-49D7-3344055AED9A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195675" y="2374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1875CE-1B40-43FD-8DD3-71A19BCF40FE}" type="datetime'''''''''''''''9''1''''''''''''.''''''''''''2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2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03A96B1D-5E46-9C68-5A5F-1983A5D5618B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2E9F498A-49DB-08B6-CEDC-566B1E6C7DB8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777680AF-DE2B-EA94-6A1C-FD53E1CE9D5D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6AEAE43E-7E80-167C-00EB-5BCA844484B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2BE24EDE-4CFE-5352-3116-835A49BA8A2C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64FA482-8730-5D1A-FC77-3A3CFB74E8B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E09921D-9FF1-8DB1-2972-6086124CA36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CA87A573-86CF-071F-FC7B-A7BD037957E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C942766D-06C9-6200-D245-8505DABFA687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A0B4C83-8D94-BB8E-D6D8-44885BC06CC3}"/>
              </a:ext>
            </a:extLst>
          </p:cNvPr>
          <p:cNvGraphicFramePr/>
          <p:nvPr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508736074"/>
              </p:ext>
            </p:extLst>
          </p:nvPr>
        </p:nvGraphicFramePr>
        <p:xfrm>
          <a:off x="514350" y="6534150"/>
          <a:ext cx="8936038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FD435492-073A-2E55-20B8-03C0B1F78322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82359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CD608F8E-83A9-3E4E-9B6A-5A46EC4543FC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 flipV="1">
            <a:off x="6626225" y="81613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直线连接符 301">
            <a:extLst>
              <a:ext uri="{FF2B5EF4-FFF2-40B4-BE49-F238E27FC236}">
                <a16:creationId xmlns:a16="http://schemas.microsoft.com/office/drawing/2014/main" id="{96192321-FD3C-0DDC-8D5C-A1FD7E1DA00D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092200" y="830580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D9A42EFE-9005-3FF2-D738-6672A74CF73B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>
            <a:off x="5530850" y="87582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5BE3F134-2EBA-1028-94F4-76BEF54CA10F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auto">
          <a:xfrm>
            <a:off x="2189163" y="82280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2A70F1E-F2B4-B88C-A97A-2BCBC32DDFA2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2241550" y="81121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08035911-28B4-E33E-3BEF-8F4A28EEFF5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2063750" y="79756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E3535-9C8E-49C7-AF56-DFAA27413BA8}" type="datetime'''''43''''''''''''''''''''''''''.''''9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66D3DE7-5CCE-31E4-9BF2-D2436A06C43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206375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5F2A9F-FD39-4FFB-8180-27C8902001D4}" type="datetime'''''''''''''''''''''''''2''''''9''''''''.''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b="1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E35E65EB-9D16-2BCE-2C40-14B8E4CE3A5B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2063750" y="7754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A7471-B989-4B37-BB23-7EC3FB842B0C}" type="datetime'''''''''''''''''''5''''''''''''''''''''9''''''.''8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8%</a:t>
            </a:fld>
            <a:endParaRPr lang="zh-CN" altLang="en-US" sz="1000" b="1" dirty="0"/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C0662E1B-8435-D7C2-1304-5F484734BFB3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33563" y="81597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08DF5B-0993-4F0D-B1C4-22F74615024D}" type="datetime'''''''''''''''''''''''''''''''''''''''''''''''''39''''.''4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9.4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743D1E60-34D4-C1D9-42F8-207F9107F301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9350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BAFC65B3-A3E3-7052-DDB6-5A39D275ADD3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2032000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D252708B-ABD2-2155-CEE4-12DB074F9C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3159125" y="7927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D4DD44-7F40-4657-A7AE-94F3F5F31913}" type="datetime'''4''''''''7''''''.''''3''''''''''''''''''''''''''%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795AF313-F90D-3DC1-B99D-EF6224F48AA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3127375" y="64277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01A247-0186-452F-A5C6-A9E54121BB07}" type="datetime'''''''''''''''''''1''''''''''''''''''''''''''''54.8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.8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C9CC4E25-CBA7-0AEF-B0DD-182E759329E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3192463" y="8516938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ADFB2-70EC-4C68-9EEE-D8DF84846B50}" type="datetime'''''''''''''''5''''''''''''''''''.''''''''''''''''''''1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%</a:t>
            </a:fld>
            <a:endParaRPr lang="zh-CN" altLang="en-US" sz="1000" b="1" dirty="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37CD6033-F67A-182D-6BDC-45E73A9C36F3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3159125" y="834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C94FBF-EBE5-4690-8CB6-3198BDDDF279}" type="datetime'''3''4''''''.''''''6''%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6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1B9C9CAC-DDC8-D2B0-29AB-3AE49A146E00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3127375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288" name="Text Placeholder 2">
            <a:extLst>
              <a:ext uri="{FF2B5EF4-FFF2-40B4-BE49-F238E27FC236}">
                <a16:creationId xmlns:a16="http://schemas.microsoft.com/office/drawing/2014/main" id="{9EF091A3-3FCA-D144-D749-60CBB70055DA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80168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7DDCC8-7EB7-4C81-866A-E259850A03BE}" type="datetime'''4''''''''0''''.''''''''9''''''''''''''''''''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DCDAF403-661D-0023-6CB2-A2431BAF7EF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4256088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FF5B78-806D-4B6B-B91E-056D712D7AF4}" type="datetime'''8''''''4''''''''''''.''''''''''''''3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b="1" dirty="0"/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07ACF48C-1951-2DBB-517F-23BAA361983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4256088" y="7675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849D2F-70D6-432E-8936-2D147648EF23}" type="datetime'''''''6''''''''''5''''''.4''''''''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b="1" dirty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34811A8F-AE94-CBBE-6ADE-09E907B69A9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4202113" y="843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F8A5F8-BED1-41C5-BF95-E8C8567F1EB0}" type="datetime'''2''7''''''''''''''.''''''7''''''''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.7%</a:t>
            </a:fld>
            <a:endParaRPr lang="zh-CN" altLang="en-US" sz="1000" b="1" dirty="0"/>
          </a:p>
        </p:txBody>
      </p:sp>
      <p:sp useBgFill="1">
        <p:nvSpPr>
          <p:cNvPr id="281" name="Text Placeholder 2">
            <a:extLst>
              <a:ext uri="{FF2B5EF4-FFF2-40B4-BE49-F238E27FC236}">
                <a16:creationId xmlns:a16="http://schemas.microsoft.com/office/drawing/2014/main" id="{14650A16-D802-3E48-A2DD-FB5D5531EEF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66788" y="8099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3C4CC-7CB3-4631-9E40-40B573493398}" type="datetime'''''''''''''''''''''''''''''''3''''''5''.''0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C390DB54-4750-E224-EFB1-9D8FCA9D075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367338" y="86217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1FBF9-9882-4076-9A2C-82438D46338E}" type="datetime'''''''''-''''''''2.''''''''''''''''''''''''4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56D52D8E-0E18-6CF7-0B1F-FB4A6C63462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912813" y="8394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C5B2F5-5B17-4A2F-8F37-D94EF4C37539}" type="datetime'''''''''''''3''''''1''.''''0''''''''''''''%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b="1" dirty="0"/>
          </a:p>
        </p:txBody>
      </p:sp>
      <p:sp useBgFill="1">
        <p:nvSpPr>
          <p:cNvPr id="246" name="Text Placeholder 2">
            <a:extLst>
              <a:ext uri="{FF2B5EF4-FFF2-40B4-BE49-F238E27FC236}">
                <a16:creationId xmlns:a16="http://schemas.microsoft.com/office/drawing/2014/main" id="{E48142F7-E0E9-1934-F396-59F199D4EB03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584825" y="898366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798CAB-A522-4ADD-8BE5-4E558117EF1E}" type="datetime'''''''''''''-''''''1''''9.7''''''''''''%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9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48777174-A543-E0E7-6196-281986F7A870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5334000" y="9131300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026CD-D8D4-4130-B1DB-FB0EC485A326}" type="datetime'''''''''''-''''''3''''8''.9''''''''''''''''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8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E7B781E-22AF-5BAC-F230-CEC2EA1EB48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429250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3354C39D-3212-34D5-F77B-BC41FCC5EF50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C3642-0650-459F-AF8B-38F3FCC8AD2E}" type="datetime'''''4''5''''''''''''''''''''''.2''''''''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6B228DD-159E-4D4E-9115-1EE5E054B6F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736600" y="82375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153E8E-CF17-45A2-A589-8BCA3C74C790}" type="datetime'''3''3''.''''''''8''%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b="1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2D9BF77A-1049-CB95-136F-9CC4E5F4730E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16675" y="682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7C44E-8D75-4177-9828-D5337696EBBD}" type="datetime'''1''''2''''''''''''''''''''''''''''6''''''''.''''''5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6.5%</a:t>
            </a:fld>
            <a:endParaRPr lang="zh-CN" altLang="en-US" sz="1000" b="1" dirty="0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850B35AD-B0F1-2FC5-823F-F76EA688B91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448425" y="78660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2143AB-C470-440F-8271-236B04665737}" type="datetime'''''''''51''''''''''''''''''.''''''7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7%</a:t>
            </a:fld>
            <a:endParaRPr lang="zh-CN" altLang="en-US" sz="10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3D1769F2-648F-06CE-D580-D16E854722DE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6448425" y="8435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43C541-53DD-488A-B973-FCB402D707E9}" type="datetime'''''''''''''2''''8''''''.3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3818C3DB-BCAA-56CB-1CD3-AEB06F8D8902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6524625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1ECB0083-C044-6D47-A655-AF8045A378A9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777163" y="8051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CAF212-F146-4A23-BF09-4F8500F4CD82}" type="datetime'4''''''7.''''''1''''''''''''''''''''%''''''''''''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D557EDF4-70EF-75AC-0DE8-BD59856CE0A6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13638" y="66865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C5C90-5082-43B4-BC9A-6574B9496781}" type="datetime'''''1''''''3''''''''''''6''''''.3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.3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2D622E70-6E0D-DC09-D626-D59F8DB2A160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707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20056B-E164-4D01-8A96-A61C9F1EF45A}" type="datetime'''''''''6''''3''.''''''''''''''''''''''1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82618974-E59F-6D26-2935-543167AA11E9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545388" y="8434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6E48EF-2E63-4F55-B961-4859FCA4D8E7}" type="datetime'''2''''''''''8''''''.''''''''''4''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1C624C8-24DF-872C-B991-AA0C72E006C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262D030-3EDC-570A-C7B0-C626D0E588CC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8154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55BDC-286E-4407-AAC5-C5A0541F65B0}" type="datetime'3''1''''''''''''''.''''''''1''''''%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A30C698-84A5-D32C-9DC3-4DE1729D6E1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8372475" y="89582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6DA320-98B8-4850-9768-F39B8204A717}" type="datetime'''''-1''''''''''''''''''''''''''7''''''''''''.''''''9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417C45F4-06D0-AB4F-6ECD-29B8948BBE7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640763" y="7608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43FC8-E8C8-42AA-813A-BA33515B3B6E}" type="datetime'''''''''''''''''7''''0''''''''''''.''''''''''2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2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7032211-1DA3-349F-E1FB-712C177EB2D3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8459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3C71E-494A-4104-A0E3-3062425DFD96}" type="datetime'''''26.''''''6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788AAEE-72C0-8691-146C-C687B5C75B89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8609013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93581956-E8A8-DE34-2DCA-0A02A674FD4A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42243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47A24F48-ACC6-9713-B4B9-3BF05B0531C9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167CE2E6-2577-7A82-A7C2-701689D4587F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5BA1C88-264E-C617-3981-34EEABBE990C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6DB21E17-84F7-AFAF-D5D0-FCF26082CD8D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D165197E-249D-CEAE-C468-D8CCD7460A65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27BB91B-F446-F3FA-2575-D0A5AA18E897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AB662BC5-A816-6800-6CE1-E66D6072AE9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172DBF5-3722-36CF-67A3-9CE897886441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5501B089-BC9B-F9FD-9958-56B8ACA99C01}"/>
              </a:ext>
            </a:extLst>
          </p:cNvPr>
          <p:cNvSpPr txBox="1"/>
          <p:nvPr/>
        </p:nvSpPr>
        <p:spPr>
          <a:xfrm>
            <a:off x="9802020" y="6085962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52912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A6F22-818A-D621-3B60-37671AF7D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D4F246-D9A0-BD9F-F323-FB7CA20F46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663656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5" imgW="7772400" imgH="10058400" progId="TCLayout.ActiveDocument.1">
                  <p:embed/>
                </p:oleObj>
              </mc:Choice>
              <mc:Fallback>
                <p:oleObj name="think-cell 幻灯片" r:id="rId14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3DBFAD-8371-9459-D119-6B7481AA3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584C40B-8777-E3F0-7254-672F0FAD28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99673"/>
              </p:ext>
            </p:extLst>
          </p:nvPr>
        </p:nvGraphicFramePr>
        <p:xfrm>
          <a:off x="509588" y="1096963"/>
          <a:ext cx="2687637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EB26DD0-A524-6DAF-1AAE-1D42958F513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4200" y="17256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0EE667-07C2-4276-BF20-8C4FEA469E2E}" type="datetime'1''''''''''''''''''''''''0''''''''''''''''.''''''''''''''0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07C49B5-9EEC-767C-84AF-86E3C24FC3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6588" y="2379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E80516-217C-44DA-B2A1-E603BB66B7A9}" type="datetime'''''6''''''''''8.''''''''''''''''''''''1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2FE6FD59-C402-EBA1-8365-CB0B772587F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6588" y="30622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2CBEEE-28B8-43B2-AF22-072F014428FF}" type="datetime'''''''''''''''''''4''''''''''''''''''.1''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FB3E90B0-8EF8-F9CC-36C9-B7D812D1779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290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E6265F5-EDC5-88F5-C737-C7E63F8F7C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57300" y="163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7F89A-B34A-4E7B-8FF9-011BB9FF47D9}" type="datetime'''''2''3''''''''.''0''''''''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C428FE6-1341-E6EC-3242-908F9F71E9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4288" y="19542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4C6A03-7DF4-4218-BCD9-29AD498A93ED}" type="datetime'''''''''''''''''''''''''''''''''9.''4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4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CA525A1-DAC3-75D2-51C4-D418E82ADAB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57300" y="2495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F9586F-8E04-4DC8-8233-9123B8EEDFB0}" type="datetime'''''''6''''''''2''.2%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7BC82C3-07BE-3CFE-0BC9-D6DEE458801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0638" y="30559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212A6-6CB4-4FCD-B38B-8EE4F09C2006}" type="datetime'''''''''''''''''''5''''''''''''''''''.''4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6C73484C-709A-075D-7320-6225D7E209A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427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FD6BFCC-1AFF-82EF-C6AE-1D5F8805A8F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097088" y="13557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505EA9-1961-4D9B-818C-FBC502DA35BB}" type="datetime'''''''''''''2''''''''''''''4''''''.''6''''''%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A904EB5-93AF-DEAE-88D9-BBA40DBCDC4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4075" y="17478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B5E1A8-15FD-4138-8AD2-B751439660A0}" type="datetime'''''''''''''''''''''''''8''.''8''''''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8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7470350-B6E9-311D-6AAB-1E26B0F7839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36588" y="1379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FFA97C-7910-4830-B46E-76425E28961E}" type="datetime'''1''''''''7''''.''''''7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84D7988-511C-56C7-CB3D-7AA30F79694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0425" y="3049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857EB-F7DB-4329-877E-0112E5F02EA4}" type="datetime'''5''''''.''''''2''''''''''''''''''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9724C49-A1C2-0AE7-AA66-BBB49A5BD2A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40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BB035A-FA5F-A120-C180-EBAD9CC9BFA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0038" y="19907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DB1EC3-8993-4D33-A67C-839A339C0D98}" type="datetime'''''''''1''7''''.''''''7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9B0FCB-1219-F089-35B4-C7AABDD118E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17800" y="2212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8B29B-0BBD-41CE-8216-2A09476A0537}" type="datetime'1''''''''''''''''''''''''1''''.''''''''''''''''''''''0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5A991E0-8271-943E-9859-A48587938C9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17800" y="267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75D4A-689A-4FE5-9D5D-1189C50D20D2}" type="datetime'''6''8.''''''''''''''0%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E190C23B-D466-EBD5-A4C7-9A65C499B25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28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361F09-0EC2-4629-9B2C-A930F67BE143}" type="datetime'''3''.''''''''''''''''''''''''''''''''''3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7F294B77-0020-52C7-FFEE-6B6595B0BB5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798763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A47D84CB-CAFA-DE05-2E9A-E87C6D5B9F2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85763" y="10668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18BAA4-B57C-44DE-8539-070E77260B84}" type="datetime'''''7''''''0''''''''''''''''43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4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3322A8D3-3ACB-545F-9E53-B656E60F21B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227138" y="12954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2E2D5-2D1E-4D55-8A23-8389CDA64FBF}" type="datetime'''''''''''''6''1''8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88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3AAB00C-367C-FF6D-4E2A-155CCEC3973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66925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5E6C0-985A-4E05-9AE8-84126ED19335}" type="datetime'''''''''''''''''7''''''''''''''''''''''''4''19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19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B6652A45-3132-27D2-BFE6-D3644BEBA2B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1625" y="1700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092575-8567-4FA6-B1D6-ABC3D4DB4724}" type="datetime'''''''''''''''''''''''''4''''''''''3''''''''''''1''6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1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EAE0DDD-D5BF-EB52-9AAB-8CFC6B1BF73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097088" y="2386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6BB7A-88B6-4B73-81C6-17B8976AAC4E}" type="datetime'''''6''''1''.''''''''''4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4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F20D0AF1-C738-3B40-54BE-4BAB7B05F79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8743927"/>
              </p:ext>
            </p:extLst>
          </p:nvPr>
        </p:nvGraphicFramePr>
        <p:xfrm>
          <a:off x="7731125" y="942975"/>
          <a:ext cx="2555875" cy="223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2C87040-EC2B-C7B4-C366-2115680B12B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729538" y="25368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EB2EF0-F0D5-48B1-9D02-369CC3F9ED05}" type="datetime'''9''.''''''''''''9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9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68EF108-1250-3484-0BC0-53A1F28D5AC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749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56941-FA5D-4C59-B837-5C05BEEDF10E}" type="datetime'''6''''4''''''.''''''''''2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57462AB9-FDE0-F1E3-9C9F-55E4697397E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083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E799E-9707-4490-96F4-267CFAB8B144}" type="datetime'''''6''''''''''''.''''''0''''''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FA7F9937-BA2A-AD9A-66E6-532D8D44D02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A11C4AC-4B1A-00A0-8B73-1804D33C5E1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27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5AB4C-92E8-4012-8FAD-499627F7257A}" type="datetime'2''''''5''''''.''''''''''''''''''''''''2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27D7A8DB-4F8E-B75A-4FA3-E8F61D92544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673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8A6BCD-BFEB-425F-962F-0C173D91AFE0}" type="datetime'''''7''''''.''''''''''9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.9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A90B585-402D-625D-CE11-720143980EE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300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CC085-09D7-4499-BD98-2972A3FF48A7}" type="datetime'''''''''''63''''''''''''''''''''''.''''4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E341ED20-D81D-28A7-75AC-8ED6CA89BBC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940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5974AB-BA67-432D-822E-34446AA4629A}" type="datetime'''''3''''''''''''''''''''''''''''''.5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B10112CB-0D42-8000-9367-F60A73F5A5B9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16B0616-3979-7CEC-0A5F-74F1E66E673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59861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D3580-A1BD-46CB-936A-66B1A298F315}" type="datetime'''''2''''''''0''''''''''''''''''''''''''.''''''''''''''''1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7E1A45F-637F-AB86-A812-D2DFB27E708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958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6B723A-00FD-47A3-B277-C79F937253C0}" type="datetime'''''''''''''''''''''''''''1''''''''''''''1''''.0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9D406F8-B060-2C5A-C90A-8A700DFF4D2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734300" y="23256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6C525-73C6-4F0A-B3C0-19859279F71F}" type="datetime'''''1''9.''9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A603C94-E745-2CFD-5563-8442E956D64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9264650" y="30099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EDE441-9AB5-4777-9D6A-00F9FA97CA68}" type="datetime'''2''''''''.''''''''''''''''''''''6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44C98A71-8251-9966-557C-E0DF953D7A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2104EC0-4B50-87F0-5E4A-262CD7294F9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2558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3DC660-8F0E-4338-A21E-3FA7C49047CB}" type="datetime'''1''''''''''''3''''''''''''''''''''''''''''.''''''3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2DE44C1-B7B9-8E11-CCAB-D7824B5B0CF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49713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00D831-E8AF-42E2-A69C-F39D67CC13F3}" type="datetime'''''''1''0''.''''''''''''''''''''''''''''''9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9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2165936-A880-DF80-9CD6-9845DFA8529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6876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4CA1FF-E34A-4DA3-B871-7C4CC33CE439}" type="datetime'''''''''7''''''''''1''.''''''3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D4CE8E26-24EC-D934-CFD5-9E10E795EA8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C1EC44-B178-4C93-A744-1ABD868F0369}" type="datetime'''4''''''''''.''''''''''''5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0B6CDC20-4976-9101-B123-DA9C6C20A28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2187AC51-3F87-D6D8-B41A-9803A24AA1F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2085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7A75BC-ADEA-479D-8F66-3FEB7C7E6626}" type="datetime'''''''''''1''''''29''9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99</a:t>
            </a:fld>
            <a:endParaRPr kumimoji="1" lang="zh-CN" altLang="en-US" sz="14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D3DF0B07-A5A9-8F0E-4BF8-40E6B8E48DA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0681DF-E7EE-4CD8-B49E-25F16F4A94BC}" type="datetime'''''''3''''''''''''''''''''''6''''''''''6''''''''0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6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E9A4C1B0-3DDF-FCA2-8DBF-B0FBE52FDF1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01150" y="12922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9B4573-4124-4F0F-8E23-F2B6BBBDBC28}" type="datetime'''''''''''''''2''''''''''''''''''''81''2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5070E0DD-0484-C524-78B0-C573C2EAC6C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998075" y="2032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BFCC08-0741-405F-8A07-8E4440F546DD}" type="datetime'''''''''''1''''''''''''''''''''5''''''''''0''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4</a:t>
            </a:fld>
            <a:endParaRPr kumimoji="1" lang="zh-CN" alt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78CE40D-F11D-0DEF-0E2A-61B0206731B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231313" y="2460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FBD6C1-82EE-4E8F-8666-36E97760754A}" type="datetime'''6''''6''''''''''.''''''''''''''''''2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9FDBF02A-23F3-BC23-6855-38A15F84865C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046204899"/>
              </p:ext>
            </p:extLst>
          </p:nvPr>
        </p:nvGraphicFramePr>
        <p:xfrm>
          <a:off x="14390688" y="1096963"/>
          <a:ext cx="2938462" cy="215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BE35C82-E8D9-7A55-D2B9-84C8AEB0F2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14517688" y="16684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802CA3-5346-492A-A57C-F413AA2F601D}" type="datetime'''''''''15''''.''''''''8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8874EA-ECD3-88EF-94C1-3D0771CD166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4517688" y="2444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DAE30-E714-4375-A0A5-44E312D8A84E}" type="datetime'6''''''''''''''''2''''''''''''.''''''''''''''''3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73B63E0E-B048-D77D-AA40-8A899AD1514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45176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0A32D0-0643-4B67-AB60-D3D00A0B6552}" type="datetime'1''''.''''8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5C7C0A2F-4616-393E-92C0-20752DA7F65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43589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A021613-FDED-9410-D2DB-F70B7A323690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5257463" y="1595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99B116-592D-417E-AA76-898220C4DAFA}" type="datetime'''''''''''''''''''2''''''''8''.''''''4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F4ECC26-BA49-C1F7-98EA-B849644B912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238413" y="20097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2B5E7-ACDA-4B11-8854-71590CBA34C3}" type="datetime'''''''''''''1''1''''''.''''5''%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5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6E6F26-BD1F-45CB-7E5D-22EEE00B9BB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5220950" y="2482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93968-99D9-42D9-A404-692EA63E725A}" type="datetime'''5''5''''''.''''''''''3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3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8D01D3C-7928-E66F-935F-91842188EA6A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2542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5736B2-894E-4007-A892-4FD0888AF74A}" type="datetime'''4.''8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7C41ACC1-5866-5F8E-141E-D63DA9B8059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5282863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6F8F48B-4A6E-707D-3236-C823517E843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6178213" y="16684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71600-A247-4644-9BBC-2C1166B701FB}" type="datetime'''''''1''''''''''''''3''''''''''.''''''''''6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278C7D8-B50E-AEC3-7910-70FD2D425D9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6148050" y="18732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03ED88-5A46-4B18-A1AA-0D4916AE2D68}" type="datetime'''''''''''5''.''''''''''''''2''''''''''''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BF63D3-EAE8-4BB4-D16C-F5BDC05D521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4436725" y="13636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1A08F-2C04-4E92-82DB-D0BFFB156B17}" type="datetime'2''''''''''''''''''''''''0''''''''''.1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20ACE0DF-BDF2-9B91-36C3-2F7B520B73DA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79800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B540EA-14AA-426E-841B-D5B0E2C5A686}" type="datetime'''4''''''''''''''''''.''''''''''''4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DB7D16CD-F207-38A6-CE3D-04717FF4E54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62083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59CB95A8-0FB3-019A-C020-9A791791AB2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849725" y="15081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333A7-B323-4D24-BDB4-6582B3CE40B5}" type="datetime'''''''''''''''''''''''''''1''''''''''''''5.''''''''4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2CA074F-A2CD-EC17-5206-562B2BCA852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949738" y="16764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2D6C5-F0DA-49FF-8310-81FF00AC6FA9}" type="datetime'''9''''''''''''.''''''''2''''''''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2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BAAE74D8-1066-7899-A8F7-8821A36D422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849725" y="2424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D4771-5C9F-40FF-9F0B-FEE94B6B5C24}" type="datetime'''''''''''''7''2''.''''5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5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2264EA73-474A-2ED7-2BB9-9EE1E3EB7AA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914813" y="3074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1737A9-E57C-4669-8802-150D652684C8}" type="datetime'''''''''2''''''.''''''9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3E7CF5C8-D107-1066-173B-D631806CF9A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713230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D0D367F-F8B6-845B-FFB5-E5F6221B8EF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4312900" y="9652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9C471C-7BD4-4AA1-8CA3-942F432AE7B3}" type="datetime'''''''6''''''9''''''1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1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A67E875-C942-9600-FF63-F8EE2528D89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5236825" y="10541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2F15F-FE98-4899-85A9-7627A9BEE947}" type="datetime'''''''''''6''''''''''''''''''''''''6''''''''''0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A83AD8-9D8E-BF5C-FC7F-8EFBA827573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6162338" y="1355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ED3F1-A9FD-4658-93B2-0101EBC66510}" type="datetime'''''''''55''''6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D484CEEF-AE7A-EFC4-99C6-ECE11C2A1290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7086263" y="1228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155F5-2790-4536-A728-1A3ABAE3DCCE}" type="datetime'''6''''0''''''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06A2F889-09B9-5AEC-4C78-0F5679BCF1C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6146463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5105AA-DB71-4BF1-8474-6D24C2493B89}" type="datetime'''''''''''''''''7''''''6.''8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8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27321B58-E193-788D-12AD-D6A8B426C51F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CE918901-2E62-097B-CA67-4D1A1A3AA06F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EBAC5A08-BAB6-F9D0-D621-4855ECBB7C76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84A58FCD-14E2-9B71-915E-98ED2BFC5B70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B7672763-E15F-3A48-2C16-0D53EC38EEBE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B4F4E0E-890A-7A57-1DC0-5AD81C43E5A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9C824D0-DFED-06AD-9FBE-95A7735159A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2E7D35B-9440-C104-F38E-D779A013AC5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FBDA3C71-2828-FA80-210A-2C0AABB0D2A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31EB6107-D6C3-82D0-EDAD-E89D3F6440D0}"/>
              </a:ext>
            </a:extLst>
          </p:cNvPr>
          <p:cNvGraphicFramePr/>
          <p:nvPr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232863852"/>
              </p:ext>
            </p:extLst>
          </p:nvPr>
        </p:nvGraphicFramePr>
        <p:xfrm>
          <a:off x="514350" y="6186488"/>
          <a:ext cx="8936038" cy="301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681A748B-949B-B2CE-CF9D-7ED6E8570954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 bwMode="auto">
          <a:xfrm flipV="1">
            <a:off x="1144588" y="74676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线连接符 122">
            <a:extLst>
              <a:ext uri="{FF2B5EF4-FFF2-40B4-BE49-F238E27FC236}">
                <a16:creationId xmlns:a16="http://schemas.microsoft.com/office/drawing/2014/main" id="{4EB18FE3-CD22-5FB3-5373-CB2475642484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8818563" y="79835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607EB9B7-0233-DA1C-6781-45BE946C2B1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8818563" y="79914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51DFD90B-AF38-6B9B-09D3-6B35136D7216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73945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直线连接符 116">
            <a:extLst>
              <a:ext uri="{FF2B5EF4-FFF2-40B4-BE49-F238E27FC236}">
                <a16:creationId xmlns:a16="http://schemas.microsoft.com/office/drawing/2014/main" id="{F39998D6-F86E-E038-F7EC-9E879392C8E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V="1">
            <a:off x="7723188" y="77978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8EBEA4F4-FC85-F54E-A45C-45AEFC11E645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auto">
          <a:xfrm>
            <a:off x="7723188" y="77533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8256052-D2D5-A65C-037E-9FBE99A06C78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 flipH="1">
            <a:off x="2255838" y="7712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直线连接符 106">
            <a:extLst>
              <a:ext uri="{FF2B5EF4-FFF2-40B4-BE49-F238E27FC236}">
                <a16:creationId xmlns:a16="http://schemas.microsoft.com/office/drawing/2014/main" id="{1466EA8D-C88C-E683-B35B-AB9CC48F3301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5545138" y="9109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3A5FF481-E6BC-5745-37BB-19DD16F250B9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5478463" y="901065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直线连接符 101">
            <a:extLst>
              <a:ext uri="{FF2B5EF4-FFF2-40B4-BE49-F238E27FC236}">
                <a16:creationId xmlns:a16="http://schemas.microsoft.com/office/drawing/2014/main" id="{5E1E0DB6-29CF-A8CA-5588-CD900C8F49D6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4433888" y="79121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线连接符 99">
            <a:extLst>
              <a:ext uri="{FF2B5EF4-FFF2-40B4-BE49-F238E27FC236}">
                <a16:creationId xmlns:a16="http://schemas.microsoft.com/office/drawing/2014/main" id="{1E5A09B5-EE66-9773-512F-210044A79176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4433888" y="78343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85" name="Text Placeholder 2">
            <a:extLst>
              <a:ext uri="{FF2B5EF4-FFF2-40B4-BE49-F238E27FC236}">
                <a16:creationId xmlns:a16="http://schemas.microsoft.com/office/drawing/2014/main" id="{B226CC0E-8C25-13DE-7E77-C7CCE5E439B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3390900" y="75104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1A3E3E-4896-4CC6-94EE-5DFDF670125C}" type="datetime'5''''''''5''''.''''''''''4%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9A647355-2239-A074-5BF4-17755C36B24D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3159125" y="71405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1B809E-F01D-417F-9DB2-BBC6913649EE}" type="datetime'''6''''''''''''''''9''''.''''''''''''''0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65FA3E10-334A-0440-848E-9BB6D18103BD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3390900" y="7929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00C89-7D75-4D69-A80A-1CA43DC21DEB}" type="datetime'''3''''''''''''''''2''''''.''''''''''''''''5''''''''''''%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5%</a:t>
            </a:fld>
            <a:endParaRPr lang="zh-CN" altLang="en-US" sz="1000" b="1" dirty="0"/>
          </a:p>
        </p:txBody>
      </p:sp>
      <p:sp useBgFill="1">
        <p:nvSpPr>
          <p:cNvPr id="243" name="Text Placeholder 2">
            <a:extLst>
              <a:ext uri="{FF2B5EF4-FFF2-40B4-BE49-F238E27FC236}">
                <a16:creationId xmlns:a16="http://schemas.microsoft.com/office/drawing/2014/main" id="{B31801C9-D888-A9F7-BD76-E2E00D8D2C11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2928938" y="77549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7B5AD3-2667-4BED-8DC4-326076AECC12}" type="datetime'''''''42''''''''.''1''''''''''''''''''''''''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1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E4061F3D-6B66-7EB2-0D6C-4B53DA42DB7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3127375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BCA5EC57-0BAD-190F-9611-98184556226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4256088" y="7697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D008A-5330-46FB-A4AC-4FA175FBD4AA}" type="datetime'''''''''3''''8''''''''''''''''.6''''''%'''''''''''''''''">
              <a:rPr lang="zh-CN" altLang="en-US" sz="1000" b="1">
                <a:solidFill>
                  <a:srgbClr val="000000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E10483D-4802-92EB-0AF9-C1B2CBF3DD3E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2032000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A4E4AFE0-31A6-DD43-87D6-5BA6AFBDAED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4256088" y="8116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D9AF9E-EF87-49E5-8735-87C0BEDC6AA3}" type="datetime'''''''''''''''''''''''''1''5''.''''''''''''8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DB9A611B-F373-44BC-AD59-E0EABB1CF68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4256088" y="72501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608AE-F7AB-47E8-B3D7-561694B0F155}" type="datetime'6''''''''''''''''''3''''''.''0''''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45" name="Text Placeholder 2">
            <a:extLst>
              <a:ext uri="{FF2B5EF4-FFF2-40B4-BE49-F238E27FC236}">
                <a16:creationId xmlns:a16="http://schemas.microsoft.com/office/drawing/2014/main" id="{710474B7-758C-7C99-529A-D520DD1678F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7951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A2858-9142-4E49-9197-209C73E6D902}" type="datetime'''3''''8''''''''''''''''''.''''''''''''''''''''''''0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1086DF73-8D09-C6A1-8A49-23412A2246D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833563" y="77771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A4044D-6738-4A70-89C7-46C8C01A1783}" type="datetime'''''''''''''''4''''''''0''''''''''''''''.''''8''''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.8%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14CF77E8-9529-BD6E-EDAE-46BA4A3F69E6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42243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11F08603-767D-ABFA-E854-7B4960262640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5084763" y="89423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8AD0E2-3A0E-44BE-8641-776488491199}" type="datetime'''''''''''''''''''''-''''2''2''''''''''''''.''7''''%'''''">
              <a:rPr lang="zh-CN" altLang="en-US" sz="1000" b="1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2.7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3" name="Text Placeholder 2">
            <a:extLst>
              <a:ext uri="{FF2B5EF4-FFF2-40B4-BE49-F238E27FC236}">
                <a16:creationId xmlns:a16="http://schemas.microsoft.com/office/drawing/2014/main" id="{A1C26545-CD29-F12F-506C-D7BEB825D77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2063750" y="7410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DEF3E6-7858-4482-95E5-31DC6D6300F3}" type="datetime'''''5''''''''''''''''''''''''''4''''''''.''''''''3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017BA827-9B1A-155B-B6D9-8D64B9766019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584825" y="904081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95070-7652-47DE-A938-810D8599B0FC}" type="datetime'''''''''-''''''''2''''''''''''''''8''''.''''''1''%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28.1%</a:t>
            </a:fld>
            <a:endParaRPr lang="zh-CN" altLang="en-US" sz="1000" b="1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D328A746-8294-BC96-5D5E-C6AA5D1C24E3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2063750" y="8066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22972-A6D1-4844-ADA3-3F498FB81D77}" type="datetime'31''''''.''''''''7''''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1B915535-0DEF-22CF-FCA8-0FBA356EA31E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334000" y="873601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CF1675-FF7D-457D-9AC4-638EF1E929D5}" type="datetime'''''-1''''''''7''''.''''''9''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44710C74-F764-AB34-0C09-C726FAD5573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5429250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D352AC33-2576-6ECF-C178-C11CD99F0743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6448425" y="70675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298DC4-98AC-4D3F-8F64-D4222E7A0F4B}" type="datetime'''72''''''''''''''''''''.''''9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46BA36EB-AA29-E930-9874-F524D552242D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6675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53EDFE-10EF-490E-8E05-4BF23BF9D935}" type="datetime'''''94''''''.''''''''''''''''3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3%</a:t>
            </a:fld>
            <a:endParaRPr lang="zh-CN" altLang="en-US" sz="1000" b="1" dirty="0"/>
          </a:p>
        </p:txBody>
      </p:sp>
      <p:sp useBgFill="1">
        <p:nvSpPr>
          <p:cNvPr id="293" name="Text Placeholder 2">
            <a:extLst>
              <a:ext uri="{FF2B5EF4-FFF2-40B4-BE49-F238E27FC236}">
                <a16:creationId xmlns:a16="http://schemas.microsoft.com/office/drawing/2014/main" id="{F202FD95-747E-5C44-B75D-07207DE87F0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707751-030A-436C-9FEA-3978B6787494}" type="datetime'''''''''''1''1''''''.''''''''''''''2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b="1" dirty="0"/>
          </a:p>
        </p:txBody>
      </p:sp>
      <p:sp useBgFill="1">
        <p:nvSpPr>
          <p:cNvPr id="294" name="Text Placeholder 2">
            <a:extLst>
              <a:ext uri="{FF2B5EF4-FFF2-40B4-BE49-F238E27FC236}">
                <a16:creationId xmlns:a16="http://schemas.microsoft.com/office/drawing/2014/main" id="{61875482-7247-3565-5F15-DDC279973C34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48425" y="7408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77ABA-701C-4B61-B59B-308C42C700F6}" type="datetime'''67''.''''''''''6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6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CFA8098F-17A9-E95A-569A-92286C78DC60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6524625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79835DBD-C14F-39B9-F711-E9B9BFCE4DE5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7545388" y="76168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422DF2-0CCE-4AED-A1FB-AC2271DF813E}" type="datetime'4''''''''''''''3''''''.1''''''%''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9C6639D0-85F5-8C9C-F7DA-B6CD6B2B9549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2295525" y="7643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6861B7-47FD-415E-AAEC-D15504C96573}" type="datetime'''''''''''''''4''''''''''''8''.''''''''''''''''''''''''''1''%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FAB44E1C-1769-3FC4-7944-C2223D390E48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545388" y="8255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F7A59-2732-46C6-A4C1-0F21989D3CAF}" type="datetime'''''2''1''''''''''''''''.5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5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84F6F0A1-9E6D-C8C9-9885-EC732172B733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45388" y="7027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4DF9E-C52C-46A0-A20E-933BDB9CF5CC}" type="datetime'''''''7''''''''''''''''''''5''''''''''''''''.''''''1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DD779D7F-2BF6-9E80-499E-863B63B6CAA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8374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90E73A-AD6C-40AB-AE87-7FF358EF45E1}" type="datetime'''''''''''''''''4''''4''''''''''''''''''.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FB1F4A6-20B0-975F-A6AA-28834EED99F5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9350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A47CF841-968F-BF9C-AF01-49E23B75380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299" name="Text Placeholder 2">
            <a:extLst>
              <a:ext uri="{FF2B5EF4-FFF2-40B4-BE49-F238E27FC236}">
                <a16:creationId xmlns:a16="http://schemas.microsoft.com/office/drawing/2014/main" id="{1DA58D02-2864-6C51-275D-201B03CBCDA7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7854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084146-5A90-4A83-9C99-F296F7D4DEDA}" type="datetime'''''30''''''.''''''''''''''0''''''''''''''''''''''''''''%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4461751-DE97-88EC-EB5C-E061317F45C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966788" y="725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50DE8-3283-4404-9D80-41ABE63C1952}" type="datetime'''''''''62''''.''''''''6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6%</a:t>
            </a:fld>
            <a:endParaRPr lang="zh-CN" altLang="en-US" sz="1000" b="1" dirty="0"/>
          </a:p>
        </p:txBody>
      </p:sp>
      <p:sp useBgFill="1">
        <p:nvSpPr>
          <p:cNvPr id="249" name="Text Placeholder 2">
            <a:extLst>
              <a:ext uri="{FF2B5EF4-FFF2-40B4-BE49-F238E27FC236}">
                <a16:creationId xmlns:a16="http://schemas.microsoft.com/office/drawing/2014/main" id="{28F959C6-67C1-367E-C24A-E125C58E9CEA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475663" y="8505825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5076C6-CD8F-4886-A208-BC78B43AE3EE}" type="datetime'1''''''''''.''''''''''''''''1''%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000" b="1" dirty="0"/>
          </a:p>
        </p:txBody>
      </p:sp>
      <p:sp useBgFill="1">
        <p:nvSpPr>
          <p:cNvPr id="300" name="Text Placeholder 2">
            <a:extLst>
              <a:ext uri="{FF2B5EF4-FFF2-40B4-BE49-F238E27FC236}">
                <a16:creationId xmlns:a16="http://schemas.microsoft.com/office/drawing/2014/main" id="{F98F2AC2-072C-D6B8-9F47-64A1BB4851C2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78470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446B3A-9488-4A15-9DAF-1DFAC07F3947}" type="datetime'3''''''''''''''''''''0''''.''''''''''''''5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5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13FA5CAA-A4C0-393C-3B0E-8FBDC7E57D5E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736600" y="8193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3B4D45-78B0-454A-8FB3-26849CB353F1}" type="datetime'1''8.''''1''''''%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.1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4CDDE14-80EB-670F-779B-DD5B85E35462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8640763" y="8137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218EE4-FF3C-486B-AA8D-D76B2D0AD142}" type="datetime'''''''''''''''2''7''''''''.''9%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89A8C02-35B9-CF26-D087-5DC7B50E6FD6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8609013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7F5B6337-95C7-4B10-1852-7F2EAB117002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gray">
          <a:xfrm>
            <a:off x="966788" y="75072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D2072-6210-45EB-9EC8-FC192024C6A8}" type="datetime'''''''6''''''''''2''''''''''.''''''''''''''''''3%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74EEE4D1-196D-4B73-D8B3-200EB77FF6D6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2F3BC0B6-9073-3C1D-C867-17323DA752E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6B2DC97-28EE-71B7-E880-96F4A75D3574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B9B0FED8-33F5-FAD5-1139-FA55AAC898B4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ABE37836-8F0B-CB2F-5E8A-06FDE7AB29E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C42EF719-EF13-CC39-B563-232B3A5E77C0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E65939E-6BAB-A8E7-93BE-4793A630E40F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18808ED7-F3C7-A4C1-8EEC-1855D5179FF3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B09B616E-B6B1-9D6F-93CA-FF3B2637E9B4}"/>
              </a:ext>
            </a:extLst>
          </p:cNvPr>
          <p:cNvSpPr txBox="1"/>
          <p:nvPr/>
        </p:nvSpPr>
        <p:spPr>
          <a:xfrm>
            <a:off x="9903599" y="6114020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4533070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920E1-E84D-D807-C778-BD42485B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8AD1EA-0925-5B5A-4F78-C50E348732B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67450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AD1EA-0925-5B5A-4F78-C50E34873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ED8F73D-0F47-E5A7-B54C-6C52B9D9A7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342609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AD067A6A-F4A5-969B-8CF5-A372F983871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003A30B-7748-D213-36B0-6D266374118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5D54DD1D-C6DC-B18F-2A4B-4898F9176C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39FD444-3250-571E-D2EB-7A950CF86CF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752133D-CBEC-91AD-B897-A81BE7BED37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7CBD186-B420-BAF0-89C2-5F57EDF9B99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2B71A1EF-2616-C400-B260-B8BCDA8E4D9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5C23823-E854-B47F-2403-00ECC5619C7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650333B-B112-72A3-3297-FBF4A0D2AC1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B635DC9-F137-B5EF-A5B8-D36913F8952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16E922F3-B2E2-AA33-5B78-3C04DB80043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E2EA84C-5278-69B5-DE93-1E918E1B578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DBA15356-E21A-0539-F19B-27450F86C64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417EBD2-1496-1CFB-B30D-1B61F0BB0D2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E6CE95A-03C9-8126-590B-49EDF3D1D5C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C839486F-3E40-18F2-8C1F-A8305F8BDD7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FDC468DC-B9C4-C8A9-2972-921DF468A17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34FFC0C-E58F-7CBA-19F5-E3CA04C0F05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9874D8A-EFB4-5AE5-A95F-393CF5E6D6A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4AF06CED-0B00-CC0F-BF1B-1713D304250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FA5A3D16-3557-F58A-2278-51561361B71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D629D3F1-F33D-2ADC-7FA4-664DC4162AE6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66177313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B71BDE35-F09C-C8B6-C9EC-13F9E98C409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7A0747F1-DF6C-BF1F-58D0-31FAF1BBA25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F1631037-5FCC-4476-6F74-F1D75F77FC4F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ADF42A09-B29C-0BBC-990F-358D031C222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A8429CAC-5CC3-B8A8-FD1F-BF64C06F40FE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07AD70F-7ECA-C8A1-0603-98A2DD16261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2B60AE0-AC9C-F037-83FC-CA890F98E74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AAF6A2B3-6275-6CDE-6E78-B61BE365F8C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42F4E59D-95D9-E434-2A69-7AAD932B9C1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A8E2882-0D54-8976-6B00-86638CE6F8C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DC36B540-F379-FC60-44F3-3FC0A1965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C28FAEEA-10DF-7964-D724-35B56F94692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C057B764-AD8F-6276-D3E2-BD729228C42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864B302-E481-B47F-811E-A38AE9723DE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594135EF-06FE-5AE9-EA38-C4A69C5426E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431FB19-1872-6BF7-D993-60497631DC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09134B2F-D975-3145-D6B6-AEDBF0FC69B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D8EA9052-57F7-91C4-8BEB-5E9348BC06E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88AE6FFE-A8D8-2AEA-D90B-A2DD2A4FD089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A5ACA043-9455-2A0F-61F3-4EC95D10CEC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8B2AD37-FBF0-319F-A22B-D3F2FFA4A63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BA7DD404-5D14-B846-7885-5444DB72E426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51498831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D495B96D-9473-1457-802B-6C46608610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5184CFCF-DB82-16F4-1BC7-FF7C327212D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86BFA5ED-E2AD-B990-904E-178143A1E5D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E72117CB-9259-3189-BE36-20A0E50269B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56441F81-38CE-1624-B85A-33BD70BF1BD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D0A3D512-8F29-1F91-031A-4A8C17F0DC2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C27210F8-B8C5-2765-D9C7-983DC8E1E98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25EC5A25-2B6B-34A0-3515-FDE32B43D0B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E58B1689-14B9-107F-A530-AD4FA0B0D5B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3BDB3C06-52E7-A5A6-7A10-5303276C32D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C18469C1-1178-B800-7926-998EA733C8A1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4C019F5-8C9B-A916-395E-60A13815521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6C60522-CCCF-BFAC-8AB1-CFC578C19CF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C4E5C134-793E-1030-322A-F5F23D4899D5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ABECE340-1E64-CC8E-6E22-1971AC438F9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7D894B34-D29B-5160-4C3C-405917A9DCCC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2E2DFC2A-60C8-47ED-3F5B-C9C37DC1C0DE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8E2B7268-73D5-B8E6-1088-74A74BCDB7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39FEBEB9-4B0B-69C2-2343-96419AF57F8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BDAF1C50-031B-A28E-59D0-3B09127C0628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4C3B1ABA-AE8D-4A48-2189-2A62B802AD28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6423AFFD-4E1E-54E3-0EC1-78DCC962A334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4023817210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5617C24F-9561-75BB-E4E5-7FFDFB736B4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4AF44E72-7E9D-E592-427E-13AAF044703B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0BA32A48-3C5B-0FD7-E541-DA8D09DB0EC8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2695C1C8-8D00-0DE9-A43F-8E2FA2BAFE05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14EA270B-508C-281B-9C77-D8253D77F22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54C081E4-EDD4-0FCA-F183-282DDF073E7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B8703D19-0F34-D973-11F7-C586A50495F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F544A37-B5F8-9F55-B241-580D5B657F50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FCDA3CF2-06A6-D527-6B85-C1518154459A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268FDBAE-3D06-4A3D-7CCE-192758C7303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95220BD0-A48E-248C-C804-CCCED98D7FAC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BDBB5DB6-CAB2-F5D4-4F14-13B931C984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63C9486F-47B7-1695-FA02-CF4354E34177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69FAB058-E79A-25C1-3F45-404A4E0C96FA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FD9083B8-73AC-5AAC-A941-860B44A06FDC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A2ADFE7E-1D8E-DDE7-7789-3CE53DB58F1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3310F574-9D0F-D210-B528-C00272E9FF3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774CBB99-FAB5-8B9A-E217-B359B34A6AD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DC09D4E-857D-3F43-5B96-DD2459CCA47B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A97351AF-79FF-CAA1-1FEE-13ACEE92F342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90253168-A209-D78C-85E7-DA06B811CD3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83E0A989-4AE7-F052-566B-0BF0E4DBE90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6C74F27C-894F-A534-B60C-704FCAE85FF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B147333E-ADEF-9139-FD2E-878287003FC9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B30EC6BD-704C-B332-5281-C79DC70A64E8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3DC9B3A7-8DBD-C3A9-4EAB-1AE6291DA99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AA79E64F-A9C0-0CA1-919F-5311E59300FA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C3B83D71-A3C6-98EE-D84A-AB3F5CF9B33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C61C4626-5ECA-0483-FE21-C864644E40D4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3FB4D367-553E-4A07-B4F6-A88031C462F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63D00D7E-5466-A7C9-94F1-724B15F0633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CE2B249B-54F0-CF06-2CB6-4CE6C405804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BB62038B-3011-D2FD-0214-BB584F765C77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780F30DA-921F-5A45-8549-D4B8D5BE7C9E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27A49A17-4528-6A99-81D9-FB918D33EBC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2762F782-B915-67B4-3CFF-2670FA3E454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5F61892D-90C0-2DAC-3FB8-1FDDD40336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628347CA-9E50-B4AF-9411-3FED8432346D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64B4D6CA-411D-5818-91E4-4509A73BFAF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F8F2EDF-997C-15AB-EA21-9D4879893DC5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4A813B0D-7A79-F7B6-4395-E75EF6ED32A5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29E84416-13F5-7865-39CE-0F7C1A29A212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5D0BE2D7-85A2-B8DB-658A-4949711CCC2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667F92C-3F6F-4A8B-0195-18151041452A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A50763A5-388E-740D-DF3E-C14C02DAD695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5F6253E3-C328-C459-733B-C9B87ADE556D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CDA22C7-05EE-3D80-25AD-5ECEB446C21E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D30E5B2A-7FC7-05AA-95C5-F4258A28943C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26B02EEF-97DC-9190-0BF6-58544AB51417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2EF02CB5-D6FE-60EA-177B-3118A86FC1EF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2E16962A-BC6D-3FF8-B8B2-0363C3409600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5D986C92-067C-500A-F0B4-87E87A8430F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46165C60-5266-8C43-A289-9A045DA3C966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9D2C52EB-542A-6B7F-3058-0362A8D1A860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47574E4B-2690-656E-E46B-E4232517AA2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6AA68F27-8F3B-F1F7-F182-0CD9F7B9780B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2F72E6AD-3ADA-3EC2-0645-DF6C27C412B1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F45631D0-0478-A7A9-23F6-57D8D3991C5E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9160A1BC-A05B-0617-3A1A-D5D336FCA1A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12C2D868-9AC9-95DC-04A5-D0E795AC65F5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283D0115-48A3-5C61-4924-DBD6759DE315}"/>
              </a:ext>
            </a:extLst>
          </p:cNvPr>
          <p:cNvSpPr txBox="1"/>
          <p:nvPr/>
        </p:nvSpPr>
        <p:spPr>
          <a:xfrm>
            <a:off x="10313699" y="6160573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286256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9C2150-FE9F-17A0-3773-57EA40EB1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7DF0897-5C7A-C5CB-A30D-549EDD648BD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2473508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5" imgW="7772400" imgH="10058400" progId="TCLayout.ActiveDocument.1">
                  <p:embed/>
                </p:oleObj>
              </mc:Choice>
              <mc:Fallback>
                <p:oleObj name="think-cell 幻灯片" r:id="rId11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25BD9-71BB-4231-A7CA-D3153FE4D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6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3" name="Chart 3">
            <a:extLst>
              <a:ext uri="{FF2B5EF4-FFF2-40B4-BE49-F238E27FC236}">
                <a16:creationId xmlns:a16="http://schemas.microsoft.com/office/drawing/2014/main" id="{812EE548-4915-9D1D-21DB-9F1C32A363D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568824"/>
              </p:ext>
            </p:extLst>
          </p:nvPr>
        </p:nvGraphicFramePr>
        <p:xfrm>
          <a:off x="-14288" y="3286125"/>
          <a:ext cx="94488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cxnSp>
        <p:nvCxnSpPr>
          <p:cNvPr id="290" name="直线连接符 289">
            <a:extLst>
              <a:ext uri="{FF2B5EF4-FFF2-40B4-BE49-F238E27FC236}">
                <a16:creationId xmlns:a16="http://schemas.microsoft.com/office/drawing/2014/main" id="{EE466352-79FE-0EBC-C973-53D3D43CE16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9428163" y="5759450"/>
            <a:ext cx="0" cy="2238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9" name="直线连接符 288">
            <a:extLst>
              <a:ext uri="{FF2B5EF4-FFF2-40B4-BE49-F238E27FC236}">
                <a16:creationId xmlns:a16="http://schemas.microsoft.com/office/drawing/2014/main" id="{5CB48109-331E-F9E8-914C-1E7E59453A3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51963" y="576262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直线连接符 286">
            <a:extLst>
              <a:ext uri="{FF2B5EF4-FFF2-40B4-BE49-F238E27FC236}">
                <a16:creationId xmlns:a16="http://schemas.microsoft.com/office/drawing/2014/main" id="{52F0A5C9-18DF-F27C-04BF-C1434E14BD6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772025" y="5980113"/>
            <a:ext cx="46990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4" name="直线连接符 283">
            <a:extLst>
              <a:ext uri="{FF2B5EF4-FFF2-40B4-BE49-F238E27FC236}">
                <a16:creationId xmlns:a16="http://schemas.microsoft.com/office/drawing/2014/main" id="{618837CA-4E6D-3416-B695-E036F0F19B1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984625" y="5980113"/>
            <a:ext cx="5032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3" name="直线连接符 282">
            <a:extLst>
              <a:ext uri="{FF2B5EF4-FFF2-40B4-BE49-F238E27FC236}">
                <a16:creationId xmlns:a16="http://schemas.microsoft.com/office/drawing/2014/main" id="{C6BC76C7-9C8B-5517-C6B7-3D3357D3087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92150" y="5980113"/>
            <a:ext cx="30083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02654794-DF15-67E1-DC4E-19708B3ADA2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266950" y="4111625"/>
            <a:ext cx="19050" cy="895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2C224FF5-516C-4C8A-8BAE-1B1A7D72E0D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736600" y="4481513"/>
            <a:ext cx="161925" cy="1025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CD00DCA3-A0B6-AA12-143A-BC1B29FECE4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524875" y="3851275"/>
            <a:ext cx="39688" cy="2184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619138AC-63B5-8D89-1F65-6A1B1848FEB7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772400" y="4449763"/>
            <a:ext cx="4763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9BADCA75-C2C7-4793-9FE7-F4343DB8C85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6989763" y="4678363"/>
            <a:ext cx="7938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CEE7B16A-03D2-3C40-4A8E-7980B5FBEE9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6202363" y="4648200"/>
            <a:ext cx="9525" cy="742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A307BD30-14AA-37B3-6D35-859B0DAB35B0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5397500" y="4870450"/>
            <a:ext cx="17463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C9A16163-FB5B-89EF-9A64-7C953B44121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4629150" y="4508500"/>
            <a:ext cx="63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857822B7-D171-E1CC-5665-6419D6C275C2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3838575" y="4627563"/>
            <a:ext cx="3175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23F4F1B3-FE91-9F39-7AB9-E0052261E734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>
            <a:off x="3054350" y="4208463"/>
            <a:ext cx="174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67A61174-14A8-1830-07E7-5FAAC1F2E4C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479550" y="4432300"/>
            <a:ext cx="68263" cy="957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35C5D3A7-AFBB-4FA2-A5E3-86C58026919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924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5619A99B-6787-C080-761B-BDA962C868C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341438" y="5767388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F5BCE2-2BB6-40A4-954C-1D7533974456}" type="datetime'''''''''''''''''''''''''''''''''''''''11''''3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D4FDC27F-22E2-34E3-C6C6-8C0B374A91B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685800" y="42894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B2C792-49CB-47A4-BD19-822D49E25F46}" type="datetime'''''1'''''''''''',''''''''''''''87''''''''''''1'''">
              <a:rPr kumimoji="1" lang="zh-CN" altLang="en-US" sz="1400" smtClean="0"/>
              <a:pPr/>
              <a:t>1,871</a:t>
            </a:fld>
            <a:endParaRPr kumimoji="1" lang="zh-CN" altLang="en-US" sz="1400" dirty="0"/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B2AFA2CA-986C-C669-DAE3-E84E77DD91F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494838" y="518636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4820C1EB-B97F-1867-53A0-3328E9D31551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325563" y="42402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54461C-10E4-49C3-9228-57BFE274A912}" type="datetime'''''''''''''''''1'''',''''''''''''9''''''''''''''''''''9''8'">
              <a:rPr kumimoji="1" lang="zh-CN" altLang="en-US" sz="1400" smtClean="0"/>
              <a:pPr/>
              <a:t>1,998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34CD9CF7-1C26-FAF4-6385-17A4A4A44D4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494838" y="42433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85452229-EA5F-175D-29B2-07634E2FBDA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058988" y="3919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882174-49E1-4970-841C-119201BD62AF}" type="datetime'''''2'',''''''4''''''''''''''''''''''''''''''10'''''''''''">
              <a:rPr kumimoji="1" lang="zh-CN" altLang="en-US" sz="1400" smtClean="0"/>
              <a:pPr/>
              <a:t>2,410</a:t>
            </a:fld>
            <a:endParaRPr kumimoji="1" lang="zh-CN" altLang="en-US" sz="14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F46CABA3-0469-1A54-C659-9D7369592BB5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5137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F31D4846-F03C-DEF0-4B47-21366928413A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844800" y="40163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5F2BED-0001-404E-A94B-12D47660C808}" type="datetime'''''''''''''''''''''''''''''''''''''2'',''5''''''''3''''''5'">
              <a:rPr kumimoji="1" lang="zh-CN" altLang="en-US" sz="1400" smtClean="0"/>
              <a:pPr/>
              <a:t>2,535</a:t>
            </a:fld>
            <a:endParaRPr kumimoji="1" lang="zh-CN" altLang="en-US" sz="1400" dirty="0"/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75A31F77-82B2-FA68-6530-8A3F8F8A393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E4FEA5A6-551D-420C-4F9B-0CDA13389466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609975" y="44354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B217E-8A48-4BCA-BCD9-264EE736B87A}" type="datetime'''''''1'''''''',''''''''9''''''''''''89'''''">
              <a:rPr kumimoji="1" lang="zh-CN" altLang="en-US" sz="1400" smtClean="0"/>
              <a:pPr/>
              <a:t>1,989</a:t>
            </a:fld>
            <a:endParaRPr kumimoji="1" lang="zh-CN" altLang="en-US" sz="1400" dirty="0"/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41972867-EAB9-56E6-9C49-14CF27712BBC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913813" y="5199063"/>
            <a:ext cx="3937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2BBC10-831B-473C-BACD-F6FFBB6A0FE2}" type="datetime'''''1'''',''''''''0''''''''''''''3''''''''''''''''''''''''6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36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083B4202-3B94-F4DC-CAC0-D53AAF7BB8B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406900" y="43164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884417-32B0-4E1D-BED0-186D22E2FE4C}" type="datetime'''''2'''''''''''''''',''''''''''''''''1''''''''3''''''''''''7'">
              <a:rPr kumimoji="1" lang="zh-CN" altLang="en-US" sz="1400" smtClean="0"/>
              <a:pPr/>
              <a:t>2,137</a:t>
            </a:fld>
            <a:endParaRPr kumimoji="1" lang="zh-CN" altLang="en-US" sz="1400" dirty="0"/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5B89C08E-EBEF-1DF5-3F69-D34379D0275B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9029700" y="42576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011D7D-A31D-4873-A398-77C51DD45318}" type="datetime'''''''9''''''''''9''''''''''''''''3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F48AD3F9-F8E9-5A1B-6329-ACDDA24856F4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5165725" y="46783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DF1864-23F5-46E9-BC10-A0F9805615A4}" type="datetime'''''''''1'''''''''''''''''',''''8''''''6''''''''''''''''5'''">
              <a:rPr kumimoji="1" lang="zh-CN" altLang="en-US" sz="1400" smtClean="0"/>
              <a:pPr/>
              <a:t>1,86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D4D22522-E6C1-C2E8-E573-E1BB498F07E5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82867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805A8C72-5148-D5F4-4363-03BC7D86BD5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5984875" y="44561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C6493E-07CE-40D7-AF5D-87619E5E3DA9}" type="datetime'''1,''996'''''''''''''''''''''''''''''''''''''''''''''">
              <a:rPr kumimoji="1" lang="zh-CN" altLang="en-US" sz="1400" smtClean="0"/>
              <a:pPr/>
              <a:t>1,99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93742593-D75D-024F-C49F-6571F4951B9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426450" y="6394450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C1B689-EB0B-4DD4-B35D-27FE7574B693}" type="datetime'3''''''''''''''''''''''6''''''''''''''''''''''''''3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56A0CD5E-FF6B-86E9-7DDE-2B2E85600977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770688" y="44862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87D575-85A9-4E78-9DB5-FF39C59571B0}" type="datetime'''''2,''''''''''''''''''''''''''''''''3''''''''''''''4''''6'">
              <a:rPr kumimoji="1" lang="zh-CN" altLang="en-US" sz="1400" smtClean="0"/>
              <a:pPr/>
              <a:t>2,34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3E5D6E2C-15DE-E1CF-4A13-829CC91B594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8426450" y="61007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B34561-353A-42C7-A0B4-0147E8F7DDA9}" type="datetime'''''''''2''''''''''''''''''''''''''''''7''''0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FEA1D958-C64E-8703-2E90-C93BEEB07CA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542213" y="42576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137344-C09A-4B44-B007-3AA02DD65BE3}" type="datetime'''2'''''''''''',''''''''''4''6''''''''1'''''''''''''''''''">
              <a:rPr kumimoji="1" lang="zh-CN" altLang="en-US" sz="1400" smtClean="0"/>
              <a:pPr/>
              <a:t>2,46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C68F0239-07F5-852A-C76B-99E05C6B6E16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7499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6B48B347-3991-101C-60E6-BFF315677DD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8294688" y="3659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163F79-3303-4F83-B9F0-55F826884D6E}" type="datetime'1'',''''''''''''30''''''''''''2'''''''''">
              <a:rPr kumimoji="1" lang="zh-CN" altLang="en-US" sz="1400" smtClean="0"/>
              <a:pPr/>
              <a:t>1,30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80A3E0C6-E650-D1DD-8348-E880C8B13786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67119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F7EAC708-8761-D60C-D1DC-B1714169CE8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123363" y="36639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C78AB7-1614-442D-BF44-BA59C025CA82}" type="datetime'''''''''''3'''',''''6''''''''''''''''''''4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64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84900E4-1764-A569-62DD-BFEC503D805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414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B3DB49FB-26BE-549A-5826-2FF5AE6C94B3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4351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145EA530-31C4-D961-9C67-00F16B41BC0B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35639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5ACE8E5A-E05A-C680-03EB-08D20776B691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27765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C961B840-250B-8D33-6A67-E63BE12D656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9891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9DEF77CE-B043-7C38-DE63-86E2EB51063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2017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84197DFE-5E8D-EB92-BDDF-D115A09B99DC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9494838" y="64198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3913FC6C-0DA0-C389-459C-C4DD48BA0D9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9518650" y="5734050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hlink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042F91F-67C0-4A55-BFBD-E7D0C386B759}" type="datetime'+''''''''''''''''''''''1''''''''''''''''''''''''7''''''%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17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9A9ADF1E-595B-0D74-BDA3-6894B2CA7690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行业新老户收入贡献变化（万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3833E111-5CA7-3286-1A6F-E49215B3FD1A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273" name="Chart 3">
            <a:extLst>
              <a:ext uri="{FF2B5EF4-FFF2-40B4-BE49-F238E27FC236}">
                <a16:creationId xmlns:a16="http://schemas.microsoft.com/office/drawing/2014/main" id="{2855E911-E5BB-2693-55C5-405C34E0FFEA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258473383"/>
              </p:ext>
            </p:extLst>
          </p:nvPr>
        </p:nvGraphicFramePr>
        <p:xfrm>
          <a:off x="11601450" y="3278188"/>
          <a:ext cx="86995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8"/>
          </a:graphicData>
        </a:graphic>
      </p:graphicFrame>
      <p:cxnSp>
        <p:nvCxnSpPr>
          <p:cNvPr id="176" name="直线连接符 175">
            <a:extLst>
              <a:ext uri="{FF2B5EF4-FFF2-40B4-BE49-F238E27FC236}">
                <a16:creationId xmlns:a16="http://schemas.microsoft.com/office/drawing/2014/main" id="{3E2F6846-3CB7-922F-3722-03180E49B037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1625263" y="3544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D8A8954E-AE2B-157B-BE0B-B5D82EF3B634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1625263" y="7259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7A12766B-0878-B614-4445-34DE000276A2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11625263" y="68214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直线连接符 200">
            <a:extLst>
              <a:ext uri="{FF2B5EF4-FFF2-40B4-BE49-F238E27FC236}">
                <a16:creationId xmlns:a16="http://schemas.microsoft.com/office/drawing/2014/main" id="{82656AD5-3979-593E-EDC6-772A52B40FDA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1625263" y="61722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线连接符 158">
            <a:extLst>
              <a:ext uri="{FF2B5EF4-FFF2-40B4-BE49-F238E27FC236}">
                <a16:creationId xmlns:a16="http://schemas.microsoft.com/office/drawing/2014/main" id="{F2C307F9-2B2F-8DD5-7BFE-25512B68CE8C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1625263" y="57340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直线连接符 162">
            <a:extLst>
              <a:ext uri="{FF2B5EF4-FFF2-40B4-BE49-F238E27FC236}">
                <a16:creationId xmlns:a16="http://schemas.microsoft.com/office/drawing/2014/main" id="{6FCFF1B6-B9D2-07DF-1FA1-1A3289DF75E4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1625263" y="52959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线连接符 164">
            <a:extLst>
              <a:ext uri="{FF2B5EF4-FFF2-40B4-BE49-F238E27FC236}">
                <a16:creationId xmlns:a16="http://schemas.microsoft.com/office/drawing/2014/main" id="{EC8DAD01-83E7-4669-822E-73CF8CDBCD2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1625263" y="48577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直线连接符 167">
            <a:extLst>
              <a:ext uri="{FF2B5EF4-FFF2-40B4-BE49-F238E27FC236}">
                <a16:creationId xmlns:a16="http://schemas.microsoft.com/office/drawing/2014/main" id="{6E2E75A5-78A7-D5EF-372C-D60E70E6687A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625263" y="44196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直线连接符 171">
            <a:extLst>
              <a:ext uri="{FF2B5EF4-FFF2-40B4-BE49-F238E27FC236}">
                <a16:creationId xmlns:a16="http://schemas.microsoft.com/office/drawing/2014/main" id="{64827DAA-1514-B967-4B43-4408ED44406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1625263" y="39814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F4302941-000A-F203-0A53-A1A8B8845F5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1155363" y="7169150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C467BE5-340F-44C3-BE89-BA4F14C16DEE}" type="datetime'''''''''''''''''''''0''''''''.''''0%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%</a:t>
            </a:fld>
            <a:endParaRPr kumimoji="1" lang="zh-CN" altLang="en-US" sz="1400" dirty="0"/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B73BD82E-F0A5-A732-4A04-7745F2CE758D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1064875" y="67310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78602C5-C280-4E90-8C3B-01E5A5E9A862}" type="datetime'''''1''''0''.''''0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.0%</a:t>
            </a:fld>
            <a:endParaRPr kumimoji="1" lang="zh-CN" altLang="en-US" sz="1400" dirty="0"/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1F878F81-88D5-C893-4662-28E229C875A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1064875" y="60817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2C65179-9167-43B2-82C7-64461E55A9E3}" type="datetime'''''''''''''4''0''''''''''.''''''''''''0''''''%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.0%</a:t>
            </a:fld>
            <a:endParaRPr kumimoji="1" lang="zh-CN" altLang="en-US" sz="14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514CEA69-B91A-4BEE-601D-3ED48F9A9B38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1064875" y="56435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3CCDCED-017D-4895-AC26-D573E954CF27}" type="datetime'''''50''''''.''''''''''''''''0''%''''''''''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.0%</a:t>
            </a:fld>
            <a:endParaRPr kumimoji="1" lang="zh-CN" altLang="en-US" sz="14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5CDDCAA1-4F9A-F98E-4B5A-F0DED2B0DAB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1064875" y="52054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7AC31F3-4509-42FA-9680-36C3267C331B}" type="datetime'''''''''''''6''''0''''''''''.''''''0''''''%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.0%</a:t>
            </a:fld>
            <a:endParaRPr kumimoji="1" lang="zh-CN" altLang="en-US" sz="14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DB18FB6A-B4D7-DC4E-FC86-5924134923D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1064875" y="47672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4B39DA3-32E5-482D-BD70-467D64097626}" type="datetime'''7''''''0''''''''''''''''''.''''''0''''%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.0%</a:t>
            </a:fld>
            <a:endParaRPr kumimoji="1" lang="zh-CN" altLang="en-US" sz="140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3C6888E-5279-1E19-64F5-8676B5CF21E4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1064875" y="43291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1B57338-D416-4E67-BA41-7399FB0DB28B}" type="datetime'''''8''''''''''''0.''''0''''''''''''''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.0%</a:t>
            </a:fld>
            <a:endParaRPr kumimoji="1" lang="zh-CN" altLang="en-US" sz="1400" dirty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1F693B23-E44E-BA4B-F000-368B9983F687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1064875" y="38909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AF7927A-0A6A-4FC6-BB50-2CC77246AB65}" type="datetime'''''''''''9''''''''''''''''''''0''.0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.0%</a:t>
            </a:fld>
            <a:endParaRPr kumimoji="1" lang="zh-CN" altLang="en-US" sz="1400" dirty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8AC244E4-F2FC-F214-C011-46BDEB5D7AB3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0974388" y="3454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DC99213-0B78-402B-9358-20601BCC1829}" type="datetime'''''1''''0''0.0''''''''''''''''''''''''''''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.0%</a:t>
            </a:fld>
            <a:endParaRPr kumimoji="1" lang="zh-CN" altLang="en-US" sz="1400" dirty="0"/>
          </a:p>
        </p:txBody>
      </p:sp>
      <p:sp useBgFill="1">
        <p:nvSpPr>
          <p:cNvPr id="183" name="任意形状 182">
            <a:extLst>
              <a:ext uri="{FF2B5EF4-FFF2-40B4-BE49-F238E27FC236}">
                <a16:creationId xmlns:a16="http://schemas.microsoft.com/office/drawing/2014/main" id="{27DE4966-A71D-D47C-4E9D-039B4060D389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11614150" y="6580188"/>
            <a:ext cx="8667751" cy="79376"/>
          </a:xfrm>
          <a:custGeom>
            <a:avLst/>
            <a:gdLst/>
            <a:ahLst/>
            <a:cxnLst/>
            <a:rect l="0" t="0" r="0" b="0"/>
            <a:pathLst>
              <a:path w="8667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9" name="任意形状 178">
            <a:extLst>
              <a:ext uri="{FF2B5EF4-FFF2-40B4-BE49-F238E27FC236}">
                <a16:creationId xmlns:a16="http://schemas.microsoft.com/office/drawing/2014/main" id="{54B92940-4F9B-D920-47CF-477D2189D8A9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11614150" y="6580188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0" name="任意形状 179">
            <a:extLst>
              <a:ext uri="{FF2B5EF4-FFF2-40B4-BE49-F238E27FC236}">
                <a16:creationId xmlns:a16="http://schemas.microsoft.com/office/drawing/2014/main" id="{17BFB296-3F9A-34C0-C934-E482DD6E0410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11614150" y="6637338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91BCA34F-21C6-8DF5-5C94-1A72D03E52A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1728450" y="58864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22A611-AB8D-4DFE-A309-1AB3E30FCED4}" type="datetime'''''''7''''''''''''4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021C98F6-4A03-6E37-2223-EE712A4DF079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6C9295FD-585A-A24E-4D86-72720D8CA403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F58F1048-154B-56D4-F9AE-DC1A4BAD9653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3081000" y="605313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7C899C1-CE5A-49DA-8AC1-F855280EA30F}" type="datetime'66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6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81E6223E-0211-4234-1655-BF379058B5F4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3669912-BC3D-B438-4893-513DA4F6BCD9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3857288" y="60753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B59075B-FEC3-4D4D-92D3-246A72984F5E}" type="datetime'6''''''''''''''''''5''''''%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5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7EBE14B4-8801-F70F-2C29-F96FF44DECD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C44316E9-ED90-88A4-0AF8-2C0288C26C91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4633575" y="61436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D5473D-2EF9-4A76-BCB9-28FE0F17D323}" type="datetime'''''''''''''''''''''''6''''''2''''''%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4ABE48BB-E360-5FDF-B246-CFE57302E591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131420-59A3-320C-A9E7-E6FD9F375457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5409863" y="62118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5BA1840-3401-428C-A7EB-B283542E572C}" type="datetime'5''''''''''''''''''''''''9''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9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090056A7-CD53-A659-1493-AB2B17242FAD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2D23862-993E-4CCA-E9A0-6A37574B12D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6184563" y="63388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7334C1F-5A76-443D-B2A4-9BB3B539C885}" type="datetime'''''''''5''''''''''''3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885D17E9-42B8-88C0-BB63-2690A7EA4B5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1280245E-E029-7ACB-B23C-0D8992F82B82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6960850" y="63642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A52247-2804-44A5-A32F-F940E4B8360B}" type="datetime'''''''''5''''''''''''2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34137983-D562-505A-2BCD-4CD6CBC493F1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8CB4E61A-FC7B-D469-A2CA-57E0DE928646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7737138" y="63150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F55656E-9F7F-4344-9B1B-9EB3FA418A0B}" type="datetime'''''''''''''''5''''''''''''''''''''''''''''''5%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5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310EAE76-91FA-81B3-6C59-E867DD07E11E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18888A40-7416-BFD1-D7C9-884F0BB2D5DD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8513425" y="64230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919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294345C-78E0-4F74-B7A2-6332886F13DE}" type="datetime'''''''5''''''''''''''''''''''''''''''0''''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9C13FFC5-43F5-6509-CCCB-6B417C6FC2CC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997BD3B9-37A3-E7F4-D3DE-65C170A2C48C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9288125" y="638333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C768E6-28FB-4999-AF1F-D356B0A47F77}" type="datetime'''''''''''''''''''''''''''5''''''''''''''''''''1''''''''''%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C4519406-C9B0-4618-57CD-0D88F737058B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6FB62C9F-CBAC-2B06-E8F9-9D3263004348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9864388" y="6537325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A0BF6F-CDE1-4D37-96B3-26F991839C88}" type="datetime'4''''4''''''''''''''''''''''''''''''''''''%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355212EE-FD2A-D670-6FE6-0DE1A1FB866C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F531BAA5-B60F-8AD8-DF3C-95C0555C87C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20361275" y="40449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95746AA2-2560-548D-462B-8F54CB439E89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20361275" y="5264150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E5F1318F-89F7-C165-BC30-7BE79BB1F82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20361275" y="652462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FCCDE1A8-D25E-6FAD-D991-D4F8898EAF1F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DECC25-EB8D-4D22-86C2-2DD085B8BF13}" type="datetime'1'''''''''',''''''''''''''''87''''''1'''''''''">
              <a:rPr kumimoji="1" lang="zh-CN" altLang="en-US" sz="1400" smtClean="0"/>
              <a:pPr/>
              <a:t>1,871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0AFAC436-C03F-D63D-D0B0-07E49D45DDF7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82C937-F8E3-4293-82DC-73D8C872FAEE}" type="datetime'1'''''''''''''''',''''9''''''''''''''''''''''''''9''''''8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998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7F831DFE-C94F-6E17-618E-B4D59305711D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1E0AED-A178-4BC7-BE99-06CB0DDC526A}" type="datetime'''''''''2'''',4''''''''''''''''1''''''''''0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10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F0BD6496-4C1D-7120-0ECB-8D76A327B1D1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378267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0B467-CE8C-43E0-94B3-1761F095E1EC}" type="datetime'2,5''3''''''''''''''''''''''''''''''''''''''''''''''5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535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50B3BFAA-1C01-2FAA-CBF7-FAB107118A0A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455896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C07E25-8570-40B9-B4F3-CD40E8DE9D3E}" type="datetime'''''''1'',''''''''''9''''''''8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989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D3933228-0946-8143-EC58-4DDF4AE3A878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53352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93228B-87C2-4456-81A1-FA61918A3CCB}" type="datetime'''''2'''''''''''',''''''''1''''''''3''''''''''''''''''7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137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3B62CB3B-897D-AFFD-0C70-17DAEBC7124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161099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1ACB9-C52A-42E3-95D5-44C36C02FCD2}" type="datetime'''''''''1'''''''''',''''''''''8''''''''6''5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6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08784973-23B5-3403-77C5-A305D84F6E08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688623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DC925A-0A0E-49F9-BA3C-EA439555AA9F}" type="datetime'''''''''1'''''''''''''''''''',9''''''''''''''''9''''6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99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F309EB36-537C-7195-2635-8CCD0B1C2688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1766252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A2688C-CEDA-4CB9-A021-9111F4BE1702}" type="datetime'2'''',''''''''''''3''''''''''''4''6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4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7171B38C-0C31-81F3-C8C0-4454C58CA1CA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843881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7F31B5-96BC-4EF6-8EE1-80593766BDC4}" type="datetime'''''''2'',4''''''''''''''''''''''''''''''61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6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B223261D-439C-96CB-DDC3-9B58247A5674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19305588" y="3322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D69B2D-5F77-4ABA-AD11-8CD199CCA82F}" type="datetime'1'',''''''''''''''''''''''''''''''''3''''''0''2'''">
              <a:rPr kumimoji="1" lang="zh-CN" altLang="en-US" sz="1400" smtClean="0"/>
              <a:pPr/>
              <a:t>1,30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F0C2B1D0-B03F-4BF9-967F-F74E7F3A9EB5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998980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8AB3E4-0C3A-4936-969C-CDAC1C44F527}" type="datetime'''3'''',''''''''''''''''''''''6''48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64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183DED32-43B4-559F-CC00-D0804683511C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12306300" y="58991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B38CF5-93AE-4BD3-9223-C81A3D593398}" type="datetime'''''''''''''''''7''''4''%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53651199-DEB3-030C-EF8E-2B632A90024F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3A6A0FF8-EC3F-149F-DFA5-62A2C5FFADF9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51C6A9F9-A5C5-56EB-BA0E-3FB9F9F4448B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3888811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1A07E-981E-04B2-1A6F-480C41F46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727F469-7A05-3ED7-B94B-8048A2E4C15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55679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8" imgW="7772400" imgH="10058400" progId="TCLayout.ActiveDocument.1">
                  <p:embed/>
                </p:oleObj>
              </mc:Choice>
              <mc:Fallback>
                <p:oleObj name="think-cell 幻灯片" r:id="rId17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25BD9-71BB-4231-A7CA-D3153FE4D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9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3" name="Chart 3">
            <a:extLst>
              <a:ext uri="{FF2B5EF4-FFF2-40B4-BE49-F238E27FC236}">
                <a16:creationId xmlns:a16="http://schemas.microsoft.com/office/drawing/2014/main" id="{82FD3E9B-9A84-0A9F-BF82-A879838CD13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357807"/>
              </p:ext>
            </p:extLst>
          </p:nvPr>
        </p:nvGraphicFramePr>
        <p:xfrm>
          <a:off x="609600" y="3286125"/>
          <a:ext cx="8824913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0"/>
          </a:graphicData>
        </a:graphic>
      </p:graphicFrame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DACB760D-AED7-5920-6226-BD7FA35D3A8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33413" y="72675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33A19606-1956-6598-22FB-9381A80CB40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33413" y="67040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B82045A1-EE52-9B60-3240-18B10D7990C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33413" y="63531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6C14D193-5AB0-C2B5-DC22-82E2432CB63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33413" y="60039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329D675E-CF6B-66D5-75BB-EBB50B29BC1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33413" y="5653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A8BFED85-E652-0B0A-2247-A26E3666636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33413" y="5302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69347661-5B07-F2F7-1B66-D2893963840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33413" y="49530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线连接符 13">
            <a:extLst>
              <a:ext uri="{FF2B5EF4-FFF2-40B4-BE49-F238E27FC236}">
                <a16:creationId xmlns:a16="http://schemas.microsoft.com/office/drawing/2014/main" id="{EBDBE9CB-B4F9-838F-FFFD-A84F9C1C087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3413" y="4602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CDB03A45-D8FB-C7B6-C97F-24E39F99EF3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33413" y="4252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线连接符 2">
            <a:extLst>
              <a:ext uri="{FF2B5EF4-FFF2-40B4-BE49-F238E27FC236}">
                <a16:creationId xmlns:a16="http://schemas.microsoft.com/office/drawing/2014/main" id="{BBE1FE94-E1AE-40F0-AF67-1A3436BC6FB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33413" y="3902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58073873-B5B0-45D3-B99E-A50A8BCA410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33413" y="35528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1C59B138-ECDA-FEC9-0C66-D099B41A7B7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25450" y="717708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261C2F-CA4B-4412-A478-10611CD55CF5}" type="datetime'''0''''''''''''''''''''''''''''''''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F72CE669-DF48-20B7-16B7-3DB0D543F5F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09538" y="66135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42DBCC0-B97B-4A15-B4E1-13C7929D9EB5}" type="datetime'''2'''''''''',''''5''''''''''''''''''''''''0''''''''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500</a:t>
            </a:fld>
            <a:endParaRPr kumimoji="1" lang="zh-CN" altLang="en-US" sz="1400" dirty="0"/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36BE277D-8E6E-4DAF-1911-49FE0C5A7FD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09538" y="62626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CE0A4B-8349-43C6-8349-8A724C3ECAA5}" type="datetime'''''''''''''3'''''''',''0''''''''''''''0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8" name="文本占位符 2">
            <a:extLst>
              <a:ext uri="{FF2B5EF4-FFF2-40B4-BE49-F238E27FC236}">
                <a16:creationId xmlns:a16="http://schemas.microsoft.com/office/drawing/2014/main" id="{2E022463-65A6-0A10-93AA-0A69D4701C8C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9538" y="59134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EA9A390-FF99-40D8-86D4-9A307A8788E7}" type="datetime'''''''''3'''''''''''''''''''''''''',5''''00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B69BE7F5-92EA-323C-94A1-8F937EEF8A9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9538" y="55626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9F305A-89F4-403F-B14E-ED5A6168AEEC}" type="datetime'''''''4'''''',''''0''0''''''''''''''''''''''''''''0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D8AB2912-967B-A563-3B6B-795F9FC51FE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9538" y="52117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7DF51A-D9E1-4CE9-B425-2CBE43AEF019}" type="datetime'''''''''''''''''''''''''4'''''',''5''''''0''0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4" name="文本占位符 2">
            <a:extLst>
              <a:ext uri="{FF2B5EF4-FFF2-40B4-BE49-F238E27FC236}">
                <a16:creationId xmlns:a16="http://schemas.microsoft.com/office/drawing/2014/main" id="{A2244E1F-0B2D-9F78-9219-42A357ADCCA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9538" y="48625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9C6837-21E6-4E5C-8B06-B31D5512D870}" type="datetime'''''5'''',''''''''''''0''''0''''''''''''0''''''''''''''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78AB5A7E-E560-87B6-A4F2-40018A22490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09538" y="45116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CC5987-D23F-47A9-82C0-2C7A5C286395}" type="datetime'''''''''''''''''''''5,''''''5''''0''''''''''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550C79A8-F498-BA70-1EF3-0D6035DC293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9538" y="41624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98AE17-E27C-468E-A27D-13B2EB048497}" type="datetime'''''''''''''''''''''6'''''''''''''',''''''''''''''0''''0''''0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D4E77CF1-2B3B-C4CE-DF22-0BD028031DF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9538" y="38115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CC1A77-14FD-47E3-BA8B-7794DFB07C0C}" type="datetime'''''''''''''''''6'''',''''''''''''5''''''''00''''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5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A3B3C6FC-427A-4F1E-13F3-06E62BAF52B1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9538" y="34623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BF4C9C-3D52-411F-94A6-2B945C19F6A0}" type="datetime'7,''''''''''''''''''''''''''''''''''''''''0''0''''0'">
              <a:rPr kumimoji="1" lang="zh-CN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245" name="任意形状 244">
            <a:extLst>
              <a:ext uri="{FF2B5EF4-FFF2-40B4-BE49-F238E27FC236}">
                <a16:creationId xmlns:a16="http://schemas.microsoft.com/office/drawing/2014/main" id="{A2E3BA64-1AAC-C3B4-9532-33673B74090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44525" y="6900863"/>
            <a:ext cx="8750301" cy="79376"/>
          </a:xfrm>
          <a:custGeom>
            <a:avLst/>
            <a:gdLst/>
            <a:ahLst/>
            <a:cxnLst/>
            <a:rect l="0" t="0" r="0" b="0"/>
            <a:pathLst>
              <a:path w="87503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  <a:lnTo>
                  <a:pt x="8750300" y="79375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0" name="任意形状 239">
            <a:extLst>
              <a:ext uri="{FF2B5EF4-FFF2-40B4-BE49-F238E27FC236}">
                <a16:creationId xmlns:a16="http://schemas.microsoft.com/office/drawing/2014/main" id="{541D4C57-92EA-A846-ECA0-1B7B2029CA7C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44525" y="6958013"/>
            <a:ext cx="8750301" cy="22226"/>
          </a:xfrm>
          <a:custGeom>
            <a:avLst/>
            <a:gdLst/>
            <a:ahLst/>
            <a:cxnLst/>
            <a:rect l="0" t="0" r="0" b="0"/>
            <a:pathLst>
              <a:path w="8750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2" name="任意形状 221">
            <a:extLst>
              <a:ext uri="{FF2B5EF4-FFF2-40B4-BE49-F238E27FC236}">
                <a16:creationId xmlns:a16="http://schemas.microsoft.com/office/drawing/2014/main" id="{B2162491-E715-BBF2-1DB6-323DDDA6E95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44525" y="6900863"/>
            <a:ext cx="8750301" cy="22226"/>
          </a:xfrm>
          <a:custGeom>
            <a:avLst/>
            <a:gdLst/>
            <a:ahLst/>
            <a:cxnLst/>
            <a:rect l="0" t="0" r="0" b="0"/>
            <a:pathLst>
              <a:path w="87503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7503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21" name="直线连接符 220">
            <a:extLst>
              <a:ext uri="{FF2B5EF4-FFF2-40B4-BE49-F238E27FC236}">
                <a16:creationId xmlns:a16="http://schemas.microsoft.com/office/drawing/2014/main" id="{D4E29AA4-D19C-4C34-445F-ADF7495964E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9428163" y="4903788"/>
            <a:ext cx="0" cy="2809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直线连接符 219">
            <a:extLst>
              <a:ext uri="{FF2B5EF4-FFF2-40B4-BE49-F238E27FC236}">
                <a16:creationId xmlns:a16="http://schemas.microsoft.com/office/drawing/2014/main" id="{B387149E-D9E3-98F1-EA62-EB46EA00F8A1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9351963" y="4906963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直线连接符 215">
            <a:extLst>
              <a:ext uri="{FF2B5EF4-FFF2-40B4-BE49-F238E27FC236}">
                <a16:creationId xmlns:a16="http://schemas.microsoft.com/office/drawing/2014/main" id="{02434C43-DDEA-AAB2-6E8F-EA36752DA32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2409825" y="5181600"/>
            <a:ext cx="70612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直线连接符 214">
            <a:extLst>
              <a:ext uri="{FF2B5EF4-FFF2-40B4-BE49-F238E27FC236}">
                <a16:creationId xmlns:a16="http://schemas.microsoft.com/office/drawing/2014/main" id="{14CBBC2A-B3E4-40D9-8211-C7959E06FFD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92150" y="5181600"/>
            <a:ext cx="1433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0EDC684D-8762-2FC0-E252-6551FA80BF6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736600" y="4133850"/>
            <a:ext cx="161925" cy="1025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10F57027-82D9-69B8-FBF6-08106943F3D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524875" y="3898900"/>
            <a:ext cx="39688" cy="2184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7E42F6D7-F173-CAB8-D4E7-3D683998412B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7772400" y="4094163"/>
            <a:ext cx="4763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5437E07D-D1EC-B81D-6BCC-785F9CDBBA0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H="1">
            <a:off x="6989763" y="4114800"/>
            <a:ext cx="7938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FE34C27E-6D76-D695-7278-A45E21C2F07E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H="1">
            <a:off x="6202363" y="3859213"/>
            <a:ext cx="9525" cy="742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5576C50B-68C1-2EA3-1016-28FB669FFB27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5397500" y="3660775"/>
            <a:ext cx="17463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521F9ED0-029C-386C-E544-A81EA8681E9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4629150" y="3989388"/>
            <a:ext cx="63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548C68A2-27A7-0BE0-877B-637BFDA3F86B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3838575" y="3783013"/>
            <a:ext cx="3175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7C39EF2D-F60D-B072-1174-D602181EE061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 flipH="1">
            <a:off x="3054350" y="3970338"/>
            <a:ext cx="174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F3D81E01-81B5-9810-8DB4-A8504FDEB63C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2266950" y="4086225"/>
            <a:ext cx="19050" cy="895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75CBF265-6225-64C9-86D3-6D737C5D00DF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H="1">
            <a:off x="1479550" y="4064000"/>
            <a:ext cx="68263" cy="957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B1BF87BC-E441-CD46-3382-A2D738333B8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414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2CE04C3-FC48-84F3-00CC-1F129F035B2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379538" y="4975225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F3CEB4-07B9-45B9-B909-F34208B32582}" type="datetime'''''4''''''''''''''''''''''''''''''''''3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5FD1C046-11E4-0CC7-F9B8-A0549108DFB0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5924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B97F830-92EF-CAA4-7F20-372184B7656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6889750" y="44577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3D65814-6E75-4FDE-B865-DD80E91DE108}" type="datetime'''''''''''''''''''''''''''''''''4''''''''5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0" name="文本占位符 2">
            <a:extLst>
              <a:ext uri="{FF2B5EF4-FFF2-40B4-BE49-F238E27FC236}">
                <a16:creationId xmlns:a16="http://schemas.microsoft.com/office/drawing/2014/main" id="{6C482503-2644-F272-E51C-DE47162E3069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6792913" y="62087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7633A5-C1B5-4B6B-8E16-574D8EF25BCF}" type="datetime'4'''''''''''''''''',''4''''''''''''''''''''''8''''''''0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48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3" name="文本占位符 2">
            <a:extLst>
              <a:ext uri="{FF2B5EF4-FFF2-40B4-BE49-F238E27FC236}">
                <a16:creationId xmlns:a16="http://schemas.microsoft.com/office/drawing/2014/main" id="{3BC1168E-BD47-3DB4-14BC-8D151FAB7EEB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36599" y="61610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DA628-8FB0-47A9-8AAD-59BAB8418F52}" type="datetime'''''''''''''''''''4'''''''''''''''',''6''1''''''''''''''''7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617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F7CF663C-7BE2-53A0-CB62-2E6CC70D01D1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7677150" y="455771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133412-D8A9-4523-996D-D295B76C45DA}" type="datetime'4''''''''''''''''''''''''''''''1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4" name="文本占位符 2">
            <a:extLst>
              <a:ext uri="{FF2B5EF4-FFF2-40B4-BE49-F238E27FC236}">
                <a16:creationId xmlns:a16="http://schemas.microsoft.com/office/drawing/2014/main" id="{09164C04-B9FE-4182-0706-3D200363F6C4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7580313" y="62674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89C30B-98FF-489D-AADC-F66D06CECA71}" type="datetime'''''''''''4,''''''''''''''''''''''''''''''''''3''''1''''''4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31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E00C24A0-B4ED-CB3A-285E-1B3AA7BD57E2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7499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1BBE0724-F3F0-C30B-9108-672C9D523356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504238" y="6026150"/>
            <a:ext cx="122238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376282-CFAE-433E-89EB-F907893F0B5C}" type="datetime'''''''''''''''9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64B3E9D0-9162-E00F-5250-7ADE3B398C31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426450" y="6280150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5DAB71-D2AA-4CD4-883D-2D880B5F1AB0}" type="datetime'''''''''''''''''''''''7''''''''''1''''''''''''''''''5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5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8" name="文本占位符 2">
            <a:extLst>
              <a:ext uri="{FF2B5EF4-FFF2-40B4-BE49-F238E27FC236}">
                <a16:creationId xmlns:a16="http://schemas.microsoft.com/office/drawing/2014/main" id="{2CCD4F29-B250-7EB5-3E3D-97BD1F8DDCE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8367713" y="6858000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EB63E0-C3AE-4190-B0DF-0BEAF4970D62}" type="datetime'''''''''''''''''''''''2'''',''''''''''''''''''6''3''''''''0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63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E05C04D3-F74A-67E6-A39B-522FB65883DC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82867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C6C9AA0A-98B0-0A60-6916-22994FC858DA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8913813" y="4322763"/>
            <a:ext cx="3937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927AAF-7392-4B9C-96FF-12F41F18C7CD}" type="datetime'''''''''''''''''''''''''''''''''''1'',''''434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3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E0EDDB7B-4195-E4C1-BE35-80C922D118FF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8913813" y="60039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85B4D8-4EBE-43B3-8A99-8239ADD72000}" type="datetime'''''''5'''''''''''''',''''0''6''''''''5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065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9FB6FE06-053D-696D-1785-B0B270E216CB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6BF7D0D2-0A03-A96F-075C-E47AE64FB07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9494838" y="37846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A690DC3A-78E4-9A0F-977E-764217055FF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9494838" y="431006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5821F0FE-BD81-3970-07ED-F3B5550FF4C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9494838" y="599122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14D0F809-742B-6329-EB03-A4680C54360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685800" y="39417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12AE26-0EDC-47EB-8A43-ACFE155368AE}" type="datetime'''''4'''''''',''''''''6''''7''''''''4'''''''''''''">
              <a:rPr kumimoji="1" lang="zh-CN" altLang="en-US" sz="1400" smtClean="0"/>
              <a:pPr/>
              <a:t>4,674</a:t>
            </a:fld>
            <a:endParaRPr kumimoji="1" lang="zh-CN" altLang="en-US" sz="14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0164777B-532D-CD19-C8FD-CCA20D060D1D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6102350" y="456406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F271674-6D93-4F8F-82BA-82B4FABE48F4}" type="datetime'''''''''6''''''''''''''''''''''''''''0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97B8DE3D-F802-E54E-D9B6-88EB96395634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325563" y="38719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8EF9F4-00A9-4DA5-98B5-3F6173AA15B7}" type="datetime'''''''''''''''''''''''''4'',8''''''''''''7''''''1'">
              <a:rPr kumimoji="1" lang="zh-CN" altLang="en-US" sz="1400" smtClean="0"/>
              <a:pPr/>
              <a:t>4,871</a:t>
            </a:fld>
            <a:endParaRPr kumimoji="1" lang="zh-CN" altLang="en-US" sz="14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34BB5D90-EEE9-6C0D-1E7E-84F2336A822E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5137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3A01B696-BD15-439F-BBA3-D3DD501A5DC5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2058988" y="38941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94CA2-18B7-4DBA-8BC2-97618F916338}" type="datetime'''''''''4'''''''''''''''',''''''''''''''''''9''''''2''8'''''''">
              <a:rPr kumimoji="1" lang="zh-CN" altLang="en-US" sz="1400" smtClean="0"/>
              <a:pPr/>
              <a:t>4,928</a:t>
            </a:fld>
            <a:endParaRPr kumimoji="1" lang="zh-CN" altLang="en-US" sz="1400" dirty="0"/>
          </a:p>
        </p:txBody>
      </p:sp>
      <p:sp>
        <p:nvSpPr>
          <p:cNvPr id="52" name="文本占位符 2">
            <a:extLst>
              <a:ext uri="{FF2B5EF4-FFF2-40B4-BE49-F238E27FC236}">
                <a16:creationId xmlns:a16="http://schemas.microsoft.com/office/drawing/2014/main" id="{42040194-293B-3FA1-9C63-8E0346F1B4A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5218113" y="60420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2966E3-21A5-45BF-9019-0FCFBD82D687}" type="datetime'''''''''''4'''''''',''9''''''''''''''6''''''0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96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CE7D4674-CE6A-2739-F39F-EAA5F863E7A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2844800" y="37782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1585AF-98E8-4998-9D89-ED259814262B}" type="datetime'''''5'''''''''',''''''3''''''''''''''''''''''''''''9''''''''7'">
              <a:rPr kumimoji="1" lang="zh-CN" altLang="en-US" sz="1400" smtClean="0"/>
              <a:pPr/>
              <a:t>5,397</a:t>
            </a:fld>
            <a:endParaRPr kumimoji="1" lang="zh-CN" altLang="en-US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950BFE9-173B-69CA-0591-3CE02AF73E57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5314950" y="42545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C703473-1FDD-49CF-8FB7-FA5C95D5043D}" type="datetime'''3''''''''''''''''''''''7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A02A76EB-874B-4F1A-31B4-0AD23DE50C84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3609975" y="35909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5E5C7A-EFAD-438A-8E2E-F0CAF808C70B}" type="datetime'5'''''''''''''',''''''5''''''40'''''''">
              <a:rPr kumimoji="1" lang="zh-CN" altLang="en-US" sz="1400" smtClean="0"/>
              <a:pPr/>
              <a:t>5,540</a:t>
            </a:fld>
            <a:endParaRPr kumimoji="1" lang="zh-CN" altLang="en-US" sz="1400" dirty="0"/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2B9404B5-C83B-4BFF-0A93-DC7EF0084B4E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4351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CC8B7CD6-2C24-92EA-A6A7-5784777628F0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4406900" y="37973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A612E3-7222-4DE1-9000-79EA94AF229C}" type="datetime'''''''''''''''''''''5'''''''',27''''''''''''''1'''''''''''''">
              <a:rPr kumimoji="1" lang="zh-CN" altLang="en-US" sz="1400" smtClean="0"/>
              <a:pPr/>
              <a:t>5,271</a:t>
            </a:fld>
            <a:endParaRPr kumimoji="1" lang="zh-CN" altLang="en-US" sz="1400" dirty="0"/>
          </a:p>
        </p:txBody>
      </p:sp>
      <p:sp>
        <p:nvSpPr>
          <p:cNvPr id="48" name="文本占位符 2">
            <a:extLst>
              <a:ext uri="{FF2B5EF4-FFF2-40B4-BE49-F238E27FC236}">
                <a16:creationId xmlns:a16="http://schemas.microsoft.com/office/drawing/2014/main" id="{0A7A3E15-1040-6581-1330-950D3AAAF96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4432300" y="61960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98D8E0-556C-43BC-A008-65DA5AA3330B}" type="datetime'''''4'''''''''''''''''''''''''''''''''',''''''''5''''1''''''9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51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0807DB69-483F-1CDB-D63B-F3A10E41A372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5165725" y="34686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F0E08E-58D8-4BA2-AFD0-0163DC90711A}" type="datetime'5'''''''''''''''''''''''''''''',89''''8'''">
              <a:rPr kumimoji="1" lang="zh-CN" altLang="en-US" sz="1400" smtClean="0"/>
              <a:pPr/>
              <a:t>5,89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C9AC94B-9139-A411-1EED-56975C523C45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4529138" y="470058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44726A7-01C4-46EA-ADC7-A1DC4221E5AC}" type="datetime'''''''''''''''''''''''''''''''''59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5FFF8088-C796-EB3D-7D25-8C29676529BC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5984875" y="36671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1D50F7-DB5F-45D8-A215-C8BF8CB6A4BC}" type="datetime'''''''''''''''''''''''''''''''''''''5,''''4''''''6''''8'''">
              <a:rPr kumimoji="1" lang="zh-CN" altLang="en-US" sz="1400" smtClean="0"/>
              <a:pPr/>
              <a:t>5,46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C4F13BE7-1A36-E927-05F9-10BA548DE18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35639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40F60BF9-C40A-BB9E-4855-F5BC0E23A67A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770688" y="39227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B1983E-4821-49F1-BD75-92C37E0AF231}" type="datetime'5'''''''''''''',''''''6''''''''1''''''1'''">
              <a:rPr kumimoji="1" lang="zh-CN" altLang="en-US" sz="1400" smtClean="0"/>
              <a:pPr/>
              <a:t>5,61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BF66B72A-E427-DE9D-6A67-C07A651EEE5E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644900" y="608330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D42B8B-EA02-440F-B5DC-DFB992363958}" type="datetime'''''4'''',''''''''''''''''''''''8''3''''''''8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38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1CAF72CC-4A14-A37C-A02C-04D26B4D6523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7542213" y="39020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3D6F36-F779-41AF-9375-9122181DF2A7}" type="datetime'5'''''''',''''''''''''''''''''''''''''''''4''''6''''''7'''''''">
              <a:rPr kumimoji="1" lang="zh-CN" altLang="en-US" sz="1400" smtClean="0"/>
              <a:pPr/>
              <a:t>5,46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1CC9008-E619-CFBE-2A3E-E7255FB0C48E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3741738" y="451643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1C41BBA-2766-4144-BDE9-3D2DA92F53CB}" type="datetime'''''''''6''''''8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AF389D62-C7A4-DF42-5A14-0AF4826B4113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8294688" y="37068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2889E0-F997-4293-9123-F471B53D0EBB}" type="datetime'''''3,''''''''3''''''''''''5''4'''''''''">
              <a:rPr kumimoji="1" lang="zh-CN" altLang="en-US" sz="1400" smtClean="0"/>
              <a:pPr/>
              <a:t>3,35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1F1EF31C-50C0-CB02-F588-79EBBF7D659E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27765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460FCA3E-00FA-8EB7-3A8B-01E465396E2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9123363" y="36417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4C66A0-DA64-4356-A245-5A2074FED7B7}" type="datetime'''''''''''6'''''''''',''''''''''5''''''''''6''5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56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53CE63C-ED1A-9AC4-0F41-D11C5E2FB67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736600" y="51181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411EE1-0457-4B73-895A-CE877D072F93}" type="datetime'''''''''''''''''''''''''5''''''''''''''7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EEF16AB4-34C2-FDA8-3164-1CFB9DB7672D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67119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91" name="文本占位符 2">
            <a:extLst>
              <a:ext uri="{FF2B5EF4-FFF2-40B4-BE49-F238E27FC236}">
                <a16:creationId xmlns:a16="http://schemas.microsoft.com/office/drawing/2014/main" id="{300E5119-CD5A-E17E-205B-B0F9461E18ED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2857500" y="60912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0CB299-DC20-4915-9C00-9A809B116F66}" type="datetime'''4,''8''''''''1''6''''''''''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16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67B98CA-B368-88B7-87F0-5F7CDDC7979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2954338" y="461168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2CEA540-200A-4108-AAA9-180455DE7586}" type="datetime'''''''''''''''''''''54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56737BAF-6E1C-FE38-1E48-25B0C6239052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9891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F2BEA14C-1557-C590-3CE9-506DD05367DC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2070100" y="61944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E0A38E-DC5D-4BF6-9BA4-86D3BC752BF5}" type="datetime'''''''''''''''''''''''''''''''''''4,''''''''''5''2''''''''4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524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E770283-774D-8499-7EE5-DEA60C3B8359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2166938" y="4937125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D71C970-0F03-458A-9C35-328C44DB694A}" type="datetime'''4''''''''''''9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12624428-8B47-507D-B6CE-AEE23B43E8B6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12017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48757F1F-887A-F9E0-48CB-2367B4F9CD75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282700" y="614680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5F9841-58D0-435B-9039-8C86C294CD44}" type="datetime'4'''''''''''''''''''',''''''''''6''''5''''7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657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C5762DE0-1E23-A47F-9B55-5805A17E9647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41438" y="5049838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B8E80F-CF68-4481-A093-2D200D1C4D2A}" type="datetime'''''''''''''''1''''7''''''''''''''''''''''1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A22AB01F-CA3D-846D-5C86-C04A5BAECFB6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6005513" y="621347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61247-19A9-4D84-8A02-16D46A720949}" type="datetime'''''''''''''4'''',''''''''''''''''''''''4''70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47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70236571-6C00-6D6C-7F49-BD452DF9B18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9518650" y="4906963"/>
            <a:ext cx="438150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accent6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B29610F-5478-43E0-AA2D-987E15DE25EB}" type="datetime'''''''''''+''''''''''''8''''''''''''''''''''''''''''%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8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FC0F273E-4B18-FA1A-F3C6-190DAAAFF957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行业新老户广告消耗贡献变化（万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7616AA1F-A658-81A2-8B36-EF04D8060EA4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179" name="Chart 3">
            <a:extLst>
              <a:ext uri="{FF2B5EF4-FFF2-40B4-BE49-F238E27FC236}">
                <a16:creationId xmlns:a16="http://schemas.microsoft.com/office/drawing/2014/main" id="{7EF6AEE2-B6F4-5AA1-BA91-7F6E755CBB2A}"/>
              </a:ext>
            </a:extLst>
          </p:cNvPr>
          <p:cNvGraphicFramePr/>
          <p:nvPr>
            <p:custDataLst>
              <p:tags r:id="rId97"/>
            </p:custDataLst>
            <p:extLst>
              <p:ext uri="{D42A27DB-BD31-4B8C-83A1-F6EECF244321}">
                <p14:modId xmlns:p14="http://schemas.microsoft.com/office/powerpoint/2010/main" val="3960520687"/>
              </p:ext>
            </p:extLst>
          </p:nvPr>
        </p:nvGraphicFramePr>
        <p:xfrm>
          <a:off x="11601450" y="3278188"/>
          <a:ext cx="86995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1"/>
          </a:graphicData>
        </a:graphic>
      </p:graphicFrame>
      <p:cxnSp>
        <p:nvCxnSpPr>
          <p:cNvPr id="236" name="直线连接符 235">
            <a:extLst>
              <a:ext uri="{FF2B5EF4-FFF2-40B4-BE49-F238E27FC236}">
                <a16:creationId xmlns:a16="http://schemas.microsoft.com/office/drawing/2014/main" id="{4C8565C1-B24F-CBBD-E321-6FCDFF0E4288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11625263" y="3544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48746E4F-322A-1412-8EBC-FC2776FAEC4E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11625263" y="72596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直线连接符 146">
            <a:extLst>
              <a:ext uri="{FF2B5EF4-FFF2-40B4-BE49-F238E27FC236}">
                <a16:creationId xmlns:a16="http://schemas.microsoft.com/office/drawing/2014/main" id="{B0422D00-5910-F1F0-0023-7A025A6D0772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11625263" y="68976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AB8C5CDA-F657-7C19-088B-111E560292A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11625263" y="65357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直线连接符 171">
            <a:extLst>
              <a:ext uri="{FF2B5EF4-FFF2-40B4-BE49-F238E27FC236}">
                <a16:creationId xmlns:a16="http://schemas.microsoft.com/office/drawing/2014/main" id="{A635C645-BC81-3344-6F16-B44734ADB45C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11625263" y="60753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线连接符 158">
            <a:extLst>
              <a:ext uri="{FF2B5EF4-FFF2-40B4-BE49-F238E27FC236}">
                <a16:creationId xmlns:a16="http://schemas.microsoft.com/office/drawing/2014/main" id="{34CFAE89-5A97-46B1-B46F-B1F38E2BDC55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11625263" y="57134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直线连接符 139">
            <a:extLst>
              <a:ext uri="{FF2B5EF4-FFF2-40B4-BE49-F238E27FC236}">
                <a16:creationId xmlns:a16="http://schemas.microsoft.com/office/drawing/2014/main" id="{52834EB8-40FF-B05E-E8D0-6A79AB9066D0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11625263" y="53530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E8BA7AA4-D09F-A195-426B-19C3BD9D04DC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11625263" y="4991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8CB330E3-3595-E535-1C58-E17D6E284EE9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11625263" y="46291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5F4FB2DA-755D-C871-BD31-1262C5775102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11625263" y="42672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直线连接符 234">
            <a:extLst>
              <a:ext uri="{FF2B5EF4-FFF2-40B4-BE49-F238E27FC236}">
                <a16:creationId xmlns:a16="http://schemas.microsoft.com/office/drawing/2014/main" id="{C4D13742-10CD-B743-0DCD-8828B2ECBA6E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11625263" y="39052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103B076D-DF3D-D6ED-8CBE-1CE0F4906FAE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1155363" y="7169150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64C2D1-4099-4AA8-8B2A-DDE4B922EE73}" type="datetime'''''''''''''''''''''0''''''''.''''0%'''''''''''''''''''">
              <a:rPr kumimoji="1" lang="zh-CN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%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8BAF067-99AD-78EF-781F-6A0C9F30860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11155363" y="6807200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84C8EF2-DAEA-42B6-9227-7EC86989C293}" type="datetime'5''''''''.''''''''''0''''''''''''''''''''''''''''''''%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.0%</a:t>
            </a:fld>
            <a:endParaRPr kumimoji="1" lang="zh-CN" altLang="en-US" sz="1400" dirty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9F03420B-63AB-BFEB-5266-4238EA48828D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1064875" y="644525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FEB419-2425-4D08-A047-BD32E8980170}" type="datetime'''''''''''''1''''''''''''''''''''0''.''0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.0%</a:t>
            </a:fld>
            <a:endParaRPr kumimoji="1" lang="zh-CN" altLang="en-US" sz="14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3B57A2D3-17AA-24D9-D0BD-2BF683238E7A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11064875" y="5984875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78D035B-AA08-43C8-8710-C14AB7832C54}" type="datetime'''''''6''''5''''''''''''''''''''.0''''''''''''%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5.0%</a:t>
            </a:fld>
            <a:endParaRPr kumimoji="1" lang="zh-CN" altLang="en-US" sz="1400" dirty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4C59CE73-B104-6E38-1C53-0DABEEE9470E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11064875" y="5622925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033A213-8BB9-4BA4-95C3-B5C9D13F4096}" type="datetime'''''''''''''7''''''''0''''.''''''''''''0''''''''''%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.0%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16AE3F43-6857-1EBC-13A0-821D0F281F20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11064875" y="52625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C66AC31-AC7C-4214-8280-1BD8ED644F29}" type="datetime'''''''''''''7''''''5''.0''''''%''''''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5.0%</a:t>
            </a:fld>
            <a:endParaRPr kumimoji="1" lang="zh-CN" altLang="en-US" sz="14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335BE8B4-92B9-644D-F1D1-210369A30083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11064875" y="49006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D97DEF1-B9AA-43DF-B91E-FC99C46972F1}" type="datetime'''''8''''''''''''0.''''0''''''''''''''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.0%</a:t>
            </a:fld>
            <a:endParaRPr kumimoji="1" lang="zh-CN" altLang="en-US" sz="1400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5F762FF9-DD13-CAAB-4DF6-2C6C1F09596B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11064875" y="45386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10D7868-DF22-4483-A8B2-6E927F88A2A7}" type="datetime'8''''''5''.''0''''''''''''''''''''''%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5.0%</a:t>
            </a:fld>
            <a:endParaRPr kumimoji="1" lang="zh-CN" altLang="en-US" sz="1400" dirty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A6FC479-6347-26A3-197F-7A886347EBF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11064875" y="41767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B1E9B1-E278-442F-9125-34FD5A72B829}" type="datetime'''''''''''9''''''''''''''''''''0''.0''''''''''''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.0%</a:t>
            </a:fld>
            <a:endParaRPr kumimoji="1" lang="zh-CN" altLang="en-US" sz="1400" dirty="0"/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02338D35-C882-D266-F33A-0EC97A0DC191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11064875" y="38147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5CEFC91-FDE6-473F-8ADA-4D1AC001275B}" type="datetime'''9''''5''.''''''''''''''''''''''0''''%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5.0%</a:t>
            </a:fld>
            <a:endParaRPr kumimoji="1" lang="zh-CN" altLang="en-US" sz="1400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07E335DD-9ADE-2368-83EE-C879B147E6E2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10974388" y="3454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E021B46-03E4-45D6-AD5F-255D7BC589AF}" type="datetime'''''1''''0''0.0''''''''''''''''''''''''''''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.0%</a:t>
            </a:fld>
            <a:endParaRPr kumimoji="1" lang="zh-CN" altLang="en-US" sz="1400" dirty="0"/>
          </a:p>
        </p:txBody>
      </p:sp>
      <p:sp useBgFill="1">
        <p:nvSpPr>
          <p:cNvPr id="113" name="任意形状 112">
            <a:extLst>
              <a:ext uri="{FF2B5EF4-FFF2-40B4-BE49-F238E27FC236}">
                <a16:creationId xmlns:a16="http://schemas.microsoft.com/office/drawing/2014/main" id="{4C63FC1D-D04D-05BA-F7D3-A8D4E6F2366D}"/>
              </a:ext>
            </a:extLst>
          </p:cNvPr>
          <p:cNvSpPr/>
          <p:nvPr>
            <p:custDataLst>
              <p:tags r:id="rId120"/>
            </p:custDataLst>
          </p:nvPr>
        </p:nvSpPr>
        <p:spPr bwMode="auto">
          <a:xfrm>
            <a:off x="11614150" y="6188075"/>
            <a:ext cx="8667751" cy="79376"/>
          </a:xfrm>
          <a:custGeom>
            <a:avLst/>
            <a:gdLst/>
            <a:ahLst/>
            <a:cxnLst/>
            <a:rect l="0" t="0" r="0" b="0"/>
            <a:pathLst>
              <a:path w="8667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1" name="任意形状 110">
            <a:extLst>
              <a:ext uri="{FF2B5EF4-FFF2-40B4-BE49-F238E27FC236}">
                <a16:creationId xmlns:a16="http://schemas.microsoft.com/office/drawing/2014/main" id="{06186B27-D658-EDAE-3CE0-E522846E1C65}"/>
              </a:ext>
            </a:extLst>
          </p:cNvPr>
          <p:cNvSpPr/>
          <p:nvPr>
            <p:custDataLst>
              <p:tags r:id="rId121"/>
            </p:custDataLst>
          </p:nvPr>
        </p:nvSpPr>
        <p:spPr bwMode="auto">
          <a:xfrm>
            <a:off x="11614150" y="6188075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2" name="任意形状 111">
            <a:extLst>
              <a:ext uri="{FF2B5EF4-FFF2-40B4-BE49-F238E27FC236}">
                <a16:creationId xmlns:a16="http://schemas.microsoft.com/office/drawing/2014/main" id="{AA17DA88-D69B-9E01-0A0B-8E3B5881A531}"/>
              </a:ext>
            </a:extLst>
          </p:cNvPr>
          <p:cNvSpPr/>
          <p:nvPr>
            <p:custDataLst>
              <p:tags r:id="rId122"/>
            </p:custDataLst>
          </p:nvPr>
        </p:nvSpPr>
        <p:spPr bwMode="auto">
          <a:xfrm>
            <a:off x="11614150" y="6245225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152" name="直线连接符 151">
            <a:extLst>
              <a:ext uri="{FF2B5EF4-FFF2-40B4-BE49-F238E27FC236}">
                <a16:creationId xmlns:a16="http://schemas.microsoft.com/office/drawing/2014/main" id="{B28ED56E-95E3-C8B6-E9B9-87CADC34728F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 flipH="1">
            <a:off x="19442113" y="3514725"/>
            <a:ext cx="6350" cy="7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3100F6AE-3482-94AC-0E76-17848416CD50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 flipH="1" flipV="1">
            <a:off x="20256500" y="3579813"/>
            <a:ext cx="7937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7E328C40-0370-283D-D563-F087815E7726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11728450" y="35052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78BDE9B-D0BA-4980-B09E-63585770BE05}" type="datetime'''''''1''''''''''''%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52C19657-3D73-EE7B-130C-2EFC9CEAF056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91D67D15-4EF9-B035-55CA-B414A4C829D1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A1A83D5-CD98-3C17-580C-F2FC2CBFE0B0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13119100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A61BA2-A4C0-47FC-916C-9D0FD81037D7}" type="datetime'''''''''''''''''''''''''''''''''''''''''1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9" name="文本占位符 2">
            <a:extLst>
              <a:ext uri="{FF2B5EF4-FFF2-40B4-BE49-F238E27FC236}">
                <a16:creationId xmlns:a16="http://schemas.microsoft.com/office/drawing/2014/main" id="{D96039E7-3A56-0EAB-B67D-1650282B0AE3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13081000" y="56149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D4E439-8A23-4FC7-BADB-152BBC165CAA}" type="datetime'''''''''''''''''''''''''''''''''''''''9''2''%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3D7851ED-423E-06A4-19E3-DDFA3EB3D314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5D4742EE-2EA1-DBBB-5CF0-ECB53962FEDB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13895388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BD054C8-373A-4C24-B5CE-098080CD99F7}" type="datetime'''''''''''1''''''''''''''''''''''''%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4EF47ED3-1BA3-1C7A-DE74-1B49149AAE8C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13857288" y="57086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073A9-5202-4C6F-A277-135E7CB51169}" type="datetime'8''''''''''''''9''''''%''''''''''''''''''''''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9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31302BBF-32E1-7255-63FA-26426BAC3619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99A8CE7F-964D-2801-A11B-896A34D4DDBF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gray">
          <a:xfrm>
            <a:off x="14671675" y="35052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F5826EB-F9AE-4F81-9BE1-CFECF9D9A341}" type="datetime'''''''''''''''1''''''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9A1D573B-CB31-07B8-30B3-48F01EFF5062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gray">
          <a:xfrm>
            <a:off x="14633575" y="577691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12011D-8914-4CBC-A5EA-66D6E62B4D7D}" type="datetime'''''''''''''''8''''''7''''''''''''''''''''%''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89DF807-E3F1-5DC6-3F68-5CF8865ECBBF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gray">
          <a:xfrm>
            <a:off x="12344400" y="34940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EEAA45B-6F64-48B5-A328-F6B15618CF28}" type="datetime'''''''1''''''''''''''''''''''''''''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AB50284-5B2B-BD91-61F2-44678E28217F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gray">
          <a:xfrm>
            <a:off x="15447963" y="35020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5FCBEB9-87DC-4E0C-A6BE-653314376C62}" type="datetime'''''''''''''''''''''1''''''''''''''''''''%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C6B23243-E937-2621-810A-A5FDC57F6D38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gray">
          <a:xfrm>
            <a:off x="15409863" y="58356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4EA0EC-3E37-416A-8EBF-5F3F1047BD15}" type="datetime'''''''''''''8''''''''''6''''''''%''''''''''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C3824634-FE4B-DDF1-3E15-1CDA7E8CB648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0ED089D-0BC7-1431-E28D-CC7356A452B8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gray">
          <a:xfrm>
            <a:off x="16222663" y="34845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E282D7-1F72-4E8D-B55B-26AAB6D6444D}" type="datetime'''''''''''''1''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6" name="文本占位符 2">
            <a:extLst>
              <a:ext uri="{FF2B5EF4-FFF2-40B4-BE49-F238E27FC236}">
                <a16:creationId xmlns:a16="http://schemas.microsoft.com/office/drawing/2014/main" id="{DA65E632-CD50-FD24-91B1-1DBFADD8E5E4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gray">
          <a:xfrm>
            <a:off x="16184563" y="5894388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0974AE-2BEF-45E5-9A4A-5B9ADC1138D9}" type="datetime'''''''''''''8''''''''''''''''''4''''''''%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C7CAC916-3482-AADF-5AA5-A02DF1CFC6D3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A375DD5B-96D4-2743-E027-31C51DEC1687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gray">
          <a:xfrm>
            <a:off x="16998950" y="35004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F4A2F0-9ED4-4F56-A2B2-A088BF2163C4}" type="datetime'''''''''''''''''1''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9" name="文本占位符 2">
            <a:extLst>
              <a:ext uri="{FF2B5EF4-FFF2-40B4-BE49-F238E27FC236}">
                <a16:creationId xmlns:a16="http://schemas.microsoft.com/office/drawing/2014/main" id="{629F5B35-ABBD-D3AD-D656-07A0D2D1D27F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gray">
          <a:xfrm>
            <a:off x="16960850" y="59785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A618D9-A0B3-4D3D-9905-A1814FE4AA0F}" type="datetime'''''''''''''8''''2''''''%''''''''''''''''''''''''''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71D1480C-0A4B-63F2-8A30-9D92D3786095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0CCE3EE-C9B1-D49D-598A-7F271F491F14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gray">
          <a:xfrm>
            <a:off x="17775238" y="349091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6655B3-F830-4262-B1E5-629C2670C14F}" type="datetime'''''''''''''''''''''''''''''''''''1''''''''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6749FE24-5AEB-0F9F-4A55-3C01A9FFD837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gray">
          <a:xfrm>
            <a:off x="17737138" y="6048375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C32F0D-DFBF-4E34-BC67-E48978601785}" type="datetime'''''''''''''''''''8''''''''''''''''''''''''''0''''''''''''''%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273EC19E-7205-6B5A-8A31-39BF76D2FE10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12FF6E94-206A-4B58-FA50-3ED453FC56D9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gray">
          <a:xfrm>
            <a:off x="18551525" y="34893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63D14A-6257-4513-8FF8-EBB537AD2E0D}" type="datetime'''''''''1''''''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B72C85E7-31E0-9753-E43B-F6D3F120A368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gray">
          <a:xfrm>
            <a:off x="18513425" y="6081713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F78D7C-0AF7-4117-97B9-AD20DA6F0720}" type="datetime'''''''7''''''''9''''''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3317B095-86FD-9D07-B424-DE657F88879A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B62F9E35-4BDF-D267-ECF6-95DCE220590C}"/>
              </a:ext>
            </a:extLst>
          </p:cNvPr>
          <p:cNvSpPr txBox="1">
            <a:spLocks/>
          </p:cNvSpPr>
          <p:nvPr>
            <p:custDataLst>
              <p:tags r:id="rId152"/>
            </p:custDataLst>
          </p:nvPr>
        </p:nvSpPr>
        <p:spPr bwMode="gray">
          <a:xfrm>
            <a:off x="19326225" y="34718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011104E-42DB-47E4-AF4D-5CE9E4DCA5BE}" type="datetime'''''''''''''''''''''''''''0''''''''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31EA238D-D055-C952-4F38-78122B7D0192}"/>
              </a:ext>
            </a:extLst>
          </p:cNvPr>
          <p:cNvSpPr txBox="1">
            <a:spLocks/>
          </p:cNvSpPr>
          <p:nvPr>
            <p:custDataLst>
              <p:tags r:id="rId153"/>
            </p:custDataLst>
          </p:nvPr>
        </p:nvSpPr>
        <p:spPr bwMode="gray">
          <a:xfrm>
            <a:off x="19288125" y="6099175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D9E218-C8BC-4039-9F9C-841C55F7FFB0}" type="datetime'''''''''''''''7''''''''''''''''''''''''''''''''8''''%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3BB0280F-D2DF-5E69-CAA3-D09D6B8F0E9B}"/>
              </a:ext>
            </a:extLst>
          </p:cNvPr>
          <p:cNvSpPr txBox="1">
            <a:spLocks/>
          </p:cNvSpPr>
          <p:nvPr>
            <p:custDataLst>
              <p:tags r:id="rId154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7F0B686-9580-DB15-95D4-412C18EC48E7}"/>
              </a:ext>
            </a:extLst>
          </p:cNvPr>
          <p:cNvSpPr txBox="1">
            <a:spLocks/>
          </p:cNvSpPr>
          <p:nvPr>
            <p:custDataLst>
              <p:tags r:id="rId155"/>
            </p:custDataLst>
          </p:nvPr>
        </p:nvSpPr>
        <p:spPr bwMode="gray">
          <a:xfrm>
            <a:off x="19942175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B435EFF-BF22-44EB-9B66-64747E60396B}" type="datetime'''''''''''''''''''''''''''''1''''''''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62D1444D-0B18-4EC7-0212-6C63189B0608}"/>
              </a:ext>
            </a:extLst>
          </p:cNvPr>
          <p:cNvSpPr txBox="1">
            <a:spLocks/>
          </p:cNvSpPr>
          <p:nvPr>
            <p:custDataLst>
              <p:tags r:id="rId156"/>
            </p:custDataLst>
          </p:nvPr>
        </p:nvSpPr>
        <p:spPr bwMode="gray">
          <a:xfrm>
            <a:off x="19864388" y="6145213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90AC48-C2D0-4593-BE8F-0DBA05B2DD19}" type="datetime'''''''''''''''7''''7''''''''''''''''%'''''''''">
              <a:rPr kumimoji="1" lang="zh-CN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3664E41F-30F1-980F-5C86-FAC99DE49C04}"/>
              </a:ext>
            </a:extLst>
          </p:cNvPr>
          <p:cNvSpPr txBox="1">
            <a:spLocks/>
          </p:cNvSpPr>
          <p:nvPr>
            <p:custDataLst>
              <p:tags r:id="rId157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BA739E63-113E-903A-71E5-4C11860FE441}"/>
              </a:ext>
            </a:extLst>
          </p:cNvPr>
          <p:cNvSpPr txBox="1">
            <a:spLocks/>
          </p:cNvSpPr>
          <p:nvPr>
            <p:custDataLst>
              <p:tags r:id="rId158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67442F65-5830-C387-6932-A0F041AECE96}"/>
              </a:ext>
            </a:extLst>
          </p:cNvPr>
          <p:cNvSpPr txBox="1">
            <a:spLocks/>
          </p:cNvSpPr>
          <p:nvPr>
            <p:custDataLst>
              <p:tags r:id="rId159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DE56BAFE-7A1D-0758-65A1-3B1715C77E86}"/>
              </a:ext>
            </a:extLst>
          </p:cNvPr>
          <p:cNvSpPr txBox="1">
            <a:spLocks/>
          </p:cNvSpPr>
          <p:nvPr>
            <p:custDataLst>
              <p:tags r:id="rId160"/>
            </p:custDataLst>
          </p:nvPr>
        </p:nvSpPr>
        <p:spPr bwMode="auto">
          <a:xfrm>
            <a:off x="20361275" y="4311650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067BD827-15EE-17F8-7E67-51B634E89E85}"/>
              </a:ext>
            </a:extLst>
          </p:cNvPr>
          <p:cNvSpPr txBox="1">
            <a:spLocks/>
          </p:cNvSpPr>
          <p:nvPr>
            <p:custDataLst>
              <p:tags r:id="rId161"/>
            </p:custDataLst>
          </p:nvPr>
        </p:nvSpPr>
        <p:spPr bwMode="auto">
          <a:xfrm>
            <a:off x="20361275" y="61325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6F9C4E26-49AE-5657-299C-772B56DA9B96}"/>
              </a:ext>
            </a:extLst>
          </p:cNvPr>
          <p:cNvSpPr txBox="1">
            <a:spLocks/>
          </p:cNvSpPr>
          <p:nvPr>
            <p:custDataLst>
              <p:tags r:id="rId162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5F48A8-A5D1-4804-8C16-9F83AFE9AF27}" type="datetime'''4'''''''''''''',''''''''''''6''7''''4'''''''''''''''''''">
              <a:rPr kumimoji="1" lang="zh-CN" altLang="en-US" sz="1400" smtClean="0"/>
              <a:pPr/>
              <a:t>4,674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3DC80351-A6F4-5247-A8C0-93146B4ED069}"/>
              </a:ext>
            </a:extLst>
          </p:cNvPr>
          <p:cNvSpPr txBox="1">
            <a:spLocks/>
          </p:cNvSpPr>
          <p:nvPr>
            <p:custDataLst>
              <p:tags r:id="rId163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83955-25B5-4D81-95A5-F7FDF62046FD}" type="datetime'''''''''4'''''''''''''''''',8''71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71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EC163747-BE7E-BC69-8526-8E04B4F38115}"/>
              </a:ext>
            </a:extLst>
          </p:cNvPr>
          <p:cNvSpPr txBox="1">
            <a:spLocks/>
          </p:cNvSpPr>
          <p:nvPr>
            <p:custDataLst>
              <p:tags r:id="rId164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5BFC04-8D04-46E4-9CE5-872D48CC82F0}" type="datetime'''''''''''''''''''''4,''''''''''''''9''''''''''28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928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47C27747-7259-6B51-D26C-24E5EAF49092}"/>
              </a:ext>
            </a:extLst>
          </p:cNvPr>
          <p:cNvSpPr txBox="1">
            <a:spLocks/>
          </p:cNvSpPr>
          <p:nvPr>
            <p:custDataLst>
              <p:tags r:id="rId165"/>
            </p:custDataLst>
          </p:nvPr>
        </p:nvSpPr>
        <p:spPr bwMode="gray">
          <a:xfrm>
            <a:off x="1378267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42FFF-9815-4F09-961B-41F3CCEC838D}" type="datetime'''5'',''''''''''''''''''''''39''''''''''''''''''''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97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F303CC98-D4A9-7CA6-5C84-F8E784BCAB13}"/>
              </a:ext>
            </a:extLst>
          </p:cNvPr>
          <p:cNvSpPr txBox="1">
            <a:spLocks/>
          </p:cNvSpPr>
          <p:nvPr>
            <p:custDataLst>
              <p:tags r:id="rId166"/>
            </p:custDataLst>
          </p:nvPr>
        </p:nvSpPr>
        <p:spPr bwMode="gray">
          <a:xfrm>
            <a:off x="1455896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446283-D456-4213-85E4-97FC1007C30D}" type="datetime'''''''''''''''''''''''''''5'''''''''',''''''5''''4''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540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93D385BD-CD8B-6FCD-492F-A99918316FED}"/>
              </a:ext>
            </a:extLst>
          </p:cNvPr>
          <p:cNvSpPr txBox="1">
            <a:spLocks/>
          </p:cNvSpPr>
          <p:nvPr>
            <p:custDataLst>
              <p:tags r:id="rId167"/>
            </p:custDataLst>
          </p:nvPr>
        </p:nvSpPr>
        <p:spPr bwMode="gray">
          <a:xfrm>
            <a:off x="153352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932EAA-2D9E-404B-9B6F-FE21733E5FCC}" type="datetime'''5'''''''''',''''''''''''''''''''''''''''''''''''27''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271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AFEDF424-80ED-46F2-7370-6A13F9ADDE35}"/>
              </a:ext>
            </a:extLst>
          </p:cNvPr>
          <p:cNvSpPr txBox="1">
            <a:spLocks/>
          </p:cNvSpPr>
          <p:nvPr>
            <p:custDataLst>
              <p:tags r:id="rId168"/>
            </p:custDataLst>
          </p:nvPr>
        </p:nvSpPr>
        <p:spPr bwMode="gray">
          <a:xfrm>
            <a:off x="161099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AEA227-43CE-428F-A5FC-0E5FAD89E5B8}" type="datetime'5,''''''''8''''''''''''''''''''''''''''''''''''9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89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7AE7ADCB-8374-4BD5-FA45-205F352EAEE4}"/>
              </a:ext>
            </a:extLst>
          </p:cNvPr>
          <p:cNvSpPr txBox="1">
            <a:spLocks/>
          </p:cNvSpPr>
          <p:nvPr>
            <p:custDataLst>
              <p:tags r:id="rId169"/>
            </p:custDataLst>
          </p:nvPr>
        </p:nvSpPr>
        <p:spPr bwMode="gray">
          <a:xfrm>
            <a:off x="1688623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6BD911-D879-4125-B33D-34FA64ECA801}" type="datetime'5'''''''',''''''''''''''''4''6''''''''''8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46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6DD6CB4B-E4F7-32A7-D305-1CC4365805F7}"/>
              </a:ext>
            </a:extLst>
          </p:cNvPr>
          <p:cNvSpPr txBox="1">
            <a:spLocks/>
          </p:cNvSpPr>
          <p:nvPr>
            <p:custDataLst>
              <p:tags r:id="rId170"/>
            </p:custDataLst>
          </p:nvPr>
        </p:nvSpPr>
        <p:spPr bwMode="gray">
          <a:xfrm>
            <a:off x="1766252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47CF82-3DE5-4FCA-87F0-ED7B5FEB538A}" type="datetime'''''''5'''''''''',''''''''''''''''''''''''''''6''''1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1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FFF43899-1571-3163-8911-310EDA65F7F3}"/>
              </a:ext>
            </a:extLst>
          </p:cNvPr>
          <p:cNvSpPr txBox="1">
            <a:spLocks/>
          </p:cNvSpPr>
          <p:nvPr>
            <p:custDataLst>
              <p:tags r:id="rId171"/>
            </p:custDataLst>
          </p:nvPr>
        </p:nvSpPr>
        <p:spPr bwMode="gray">
          <a:xfrm>
            <a:off x="1843881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7BEA3-2215-4D6B-9274-5A9B6AAB5F8E}" type="datetime'''''''''5,''''46''''''''''''''''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46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DB2F2858-7592-C5F0-8781-FC26813BBF11}"/>
              </a:ext>
            </a:extLst>
          </p:cNvPr>
          <p:cNvSpPr txBox="1">
            <a:spLocks/>
          </p:cNvSpPr>
          <p:nvPr>
            <p:custDataLst>
              <p:tags r:id="rId172"/>
            </p:custDataLst>
          </p:nvPr>
        </p:nvSpPr>
        <p:spPr bwMode="gray">
          <a:xfrm>
            <a:off x="19305588" y="3322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6C388C-8EC1-4D65-A665-3A1EDDBBFBD7}" type="datetime'''''''''3,''''''''''''''35''4'''''''''''''''''''''''''''''''''">
              <a:rPr kumimoji="1" lang="zh-CN" altLang="en-US" sz="1400" smtClean="0"/>
              <a:pPr/>
              <a:t>3,35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4" name="文本占位符 2">
            <a:extLst>
              <a:ext uri="{FF2B5EF4-FFF2-40B4-BE49-F238E27FC236}">
                <a16:creationId xmlns:a16="http://schemas.microsoft.com/office/drawing/2014/main" id="{C18F8624-8575-1FD1-4212-D65F9F253119}"/>
              </a:ext>
            </a:extLst>
          </p:cNvPr>
          <p:cNvSpPr txBox="1">
            <a:spLocks/>
          </p:cNvSpPr>
          <p:nvPr>
            <p:custDataLst>
              <p:tags r:id="rId173"/>
            </p:custDataLst>
          </p:nvPr>
        </p:nvSpPr>
        <p:spPr bwMode="gray">
          <a:xfrm>
            <a:off x="11728450" y="53625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7D2582-357E-42EA-91C4-E7BA93CAE7B0}" type="datetime'''9''''9''''''''''%''''''''''''''''''''''''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DE83D625-C7E0-21AB-5C6F-FD60F61241DF}"/>
              </a:ext>
            </a:extLst>
          </p:cNvPr>
          <p:cNvSpPr txBox="1">
            <a:spLocks/>
          </p:cNvSpPr>
          <p:nvPr>
            <p:custDataLst>
              <p:tags r:id="rId174"/>
            </p:custDataLst>
          </p:nvPr>
        </p:nvSpPr>
        <p:spPr bwMode="gray">
          <a:xfrm>
            <a:off x="1998980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45C869-2464-49EF-B8BF-5684255F6F26}" type="datetime'''''''6'',''''''''''''''5''''''''6''''''5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565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7" name="文本占位符 2">
            <a:extLst>
              <a:ext uri="{FF2B5EF4-FFF2-40B4-BE49-F238E27FC236}">
                <a16:creationId xmlns:a16="http://schemas.microsoft.com/office/drawing/2014/main" id="{693BB848-8FF7-CDD2-CB5E-31ED157FA45F}"/>
              </a:ext>
            </a:extLst>
          </p:cNvPr>
          <p:cNvSpPr txBox="1">
            <a:spLocks/>
          </p:cNvSpPr>
          <p:nvPr>
            <p:custDataLst>
              <p:tags r:id="rId175"/>
            </p:custDataLst>
          </p:nvPr>
        </p:nvSpPr>
        <p:spPr bwMode="gray">
          <a:xfrm>
            <a:off x="12306300" y="54784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D0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5D8EA5-5D69-4409-A2EF-453E05ED98BF}" type="datetime'''''''''''''9''''''''''6''''''''''''''''''''''''''''''%'">
              <a:rPr kumimoji="1" lang="en-US" altLang="en-US" sz="1200" smtClean="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%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108DB2AA-4FE3-ED58-5377-753B558E1906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21BD7046-7BB8-5916-A658-F86DF59746C6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A4F09AB2-59AD-D174-B33E-F597719BE922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1643702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C557D0-5A50-5014-1737-6D3028331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70469AD-B2EB-5552-CAA8-A1B73C6787C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561844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8" imgW="7772400" imgH="10058400" progId="TCLayout.ActiveDocument.1">
                  <p:embed/>
                </p:oleObj>
              </mc:Choice>
              <mc:Fallback>
                <p:oleObj name="think-cell 幻灯片" r:id="rId9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DF0897-5C7A-C5CB-A30D-549EDD648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5170C831-2783-F319-3227-CF98FF7C0D3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4807"/>
              </p:ext>
            </p:extLst>
          </p:nvPr>
        </p:nvGraphicFramePr>
        <p:xfrm>
          <a:off x="-14288" y="3286125"/>
          <a:ext cx="94488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cxnSp>
        <p:nvCxnSpPr>
          <p:cNvPr id="93" name="直线连接符 92">
            <a:extLst>
              <a:ext uri="{FF2B5EF4-FFF2-40B4-BE49-F238E27FC236}">
                <a16:creationId xmlns:a16="http://schemas.microsoft.com/office/drawing/2014/main" id="{21790A37-4710-8FA1-71F4-4C786DA3EAA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351963" y="531018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直线连接符 91">
            <a:extLst>
              <a:ext uri="{FF2B5EF4-FFF2-40B4-BE49-F238E27FC236}">
                <a16:creationId xmlns:a16="http://schemas.microsoft.com/office/drawing/2014/main" id="{0994FD8F-14B2-3735-7BB3-015A89E34A5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92150" y="5334000"/>
            <a:ext cx="8778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直线连接符 94">
            <a:extLst>
              <a:ext uri="{FF2B5EF4-FFF2-40B4-BE49-F238E27FC236}">
                <a16:creationId xmlns:a16="http://schemas.microsoft.com/office/drawing/2014/main" id="{DC2974C3-8AF3-5FC2-06B7-06A794D857D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9428163" y="5307013"/>
            <a:ext cx="0" cy="301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3D0D2DA3-B6FD-CAAB-A293-470FC7CB3B4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36600" y="4286250"/>
            <a:ext cx="161925" cy="1025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5E76B2F3-ACBA-CA2C-A9BA-6EB22981868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459788" y="3770313"/>
            <a:ext cx="104775" cy="2184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A89B5294-5445-E88C-16E9-0B27A80854F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772400" y="4567238"/>
            <a:ext cx="4763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0D651FE0-7EFA-8D42-15A4-9DCB9390E89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989763" y="4819650"/>
            <a:ext cx="7938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F411AF2E-F325-1DD8-3996-36090923744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6202363" y="4592638"/>
            <a:ext cx="9525" cy="742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3F86BEB1-8C04-122A-76E3-4A2A2E7AE3E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5397500" y="4605338"/>
            <a:ext cx="17463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2E1E280E-AF4E-97F9-0F1B-0A3A771C242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4629150" y="4335463"/>
            <a:ext cx="63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F13A872F-061E-5F06-A31F-488B152DA78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3838575" y="4414838"/>
            <a:ext cx="3175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984F52BE-B9EE-C676-1CE1-3633E182B510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H="1">
            <a:off x="3054350" y="3638550"/>
            <a:ext cx="174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432893AC-547D-0CF6-34CC-5D9E34F4ECE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2266950" y="3695700"/>
            <a:ext cx="19050" cy="895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8596F67A-2230-3404-723A-8998F0F1A16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1479550" y="4167188"/>
            <a:ext cx="68263" cy="957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B60D0B74-C6D9-A28E-8E6C-4823D351B19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406900" y="41433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BAEA39-39CB-4672-9DED-AD90FF41097E}" type="datetime'''''''''''''1'''''''''''',''''394'''''''''''''''''''''''">
              <a:rPr kumimoji="1" lang="zh-CN" altLang="en-US" sz="1400" smtClean="0"/>
              <a:pPr/>
              <a:t>1,394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C67F5B9E-DA46-6C40-644B-79AFF0E7B77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341438" y="5203825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94230F-7590-4E40-BED3-5691B1C19401}" type="datetime'''''''''''''1''1''''''''''''''''''''''''''''''''''''''''''2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E7333C7F-CCBA-0E20-2CC0-2135E7D970E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494838" y="61928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DD7E4819-B2BC-ECAB-D6E1-96EEA7CC557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85800" y="40941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2021D4-6062-48F6-8722-341F954A2FCA}" type="datetime'''''1'''''''''''''''',''''2''''''''''''''4''9'''''''''''''''''">
              <a:rPr kumimoji="1" lang="zh-CN" altLang="en-US" sz="1400" smtClean="0"/>
              <a:pPr/>
              <a:t>1,249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FC96EA1F-EED8-AF53-3CF9-31CE7D8DC80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494838" y="3640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C24D876D-E7F5-D2FD-C2B3-4321ED1A0188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325563" y="39751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E06398-8B2C-4B07-9851-7C0E328A7EB6}" type="datetime'''''''1'''''''''',''''3''''''''''''''7''''''''''''0'''">
              <a:rPr kumimoji="1" lang="zh-CN" altLang="en-US" sz="1400" smtClean="0"/>
              <a:pPr/>
              <a:t>1,370</a:t>
            </a:fld>
            <a:endParaRPr kumimoji="1" lang="zh-CN" altLang="en-US" sz="1400" dirty="0"/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CBFA3958-904A-E155-670E-E5124223622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56622E08-6721-B8A6-1483-5949EEB244F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58988" y="35036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CD31A0-B781-478F-AB82-F437BD723D1E}" type="datetime'''1,''7''''1''''''''''''''''''''''''''''''''''''''4'">
              <a:rPr kumimoji="1" lang="zh-CN" altLang="en-US" sz="1400" smtClean="0"/>
              <a:pPr/>
              <a:t>1,714</a:t>
            </a:fld>
            <a:endParaRPr kumimoji="1" lang="zh-CN" altLang="en-US" sz="1400" dirty="0"/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235DD612-DC3B-223F-3B83-6D87CC6C93B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9029700" y="4467225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946EC2-7E00-4CEE-95CE-E18D938350EF}" type="datetime'''9''''''''8''''2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9EE474D7-6A6A-C6BD-320E-A6BBD38673F5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844800" y="34464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09CAB0-CEF1-4C64-8F68-ADD4C78D093C}" type="datetime'1,''8''''''8''''''''''''''''''9'''''''''">
              <a:rPr kumimoji="1" lang="zh-CN" altLang="en-US" sz="1400" smtClean="0"/>
              <a:pPr/>
              <a:t>1,889</a:t>
            </a:fld>
            <a:endParaRPr kumimoji="1" lang="zh-CN" altLang="en-US" sz="1400" dirty="0"/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909FDBED-2336-F6FF-BFB5-6F615299B66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2867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63388E3D-939A-B313-8FD8-695AE531739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609975" y="42227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EC1A78-3AF6-496E-BE33-D7AA53C0C1C3}" type="datetime'''''''''''''''''''1'',''''''''3''3''''''''''''1'''''''''''''''">
              <a:rPr kumimoji="1" lang="zh-CN" altLang="en-US" sz="1400" smtClean="0"/>
              <a:pPr/>
              <a:t>1,331</a:t>
            </a:fld>
            <a:endParaRPr kumimoji="1" lang="zh-CN" altLang="en-US" sz="14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20119A9A-190F-3F7E-3CED-44F5EC681402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8464550" y="5902325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AB60E4-52DE-4144-917E-3EBF74AC1699}" type="datetime'''''''''1''''''''''''''''0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A39EC399-1C35-A637-0E68-205333D5037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499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7F6F0843-56AF-B2CA-7AD5-9A323A6E6C7B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67119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982B0908-3BD6-D656-E5C6-A058C620209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5165725" y="44132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EBC20A-0255-49BE-BE61-BE65170825E9}" type="datetime'''1'''''''''''''''''''''''''''''''',''''''''''2''91'''''''''''">
              <a:rPr kumimoji="1" lang="zh-CN" altLang="en-US" sz="1400" smtClean="0"/>
              <a:pPr/>
              <a:t>1,29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6F40C887-EDF6-A6A5-675B-5D49D6BF2094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5924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B050E331-6E3F-D652-4D80-738A8DD2DB81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984875" y="44005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3678D6-FD51-4526-B8DA-BD18EF78680D}" type="datetime'''1'''''''',''''''''2''''''''''3''3'''''''''''''''''''">
              <a:rPr kumimoji="1" lang="zh-CN" altLang="en-US" sz="1400" smtClean="0"/>
              <a:pPr/>
              <a:t>1,23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550E4C6-2EC9-FA0E-4A97-45659A75AA04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5137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431D755E-52AF-91DC-EAC1-5843588CB70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6770688" y="46275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02F291-3C69-4DB5-99C3-E991CAA711DD}" type="datetime'''''''''''''''1,''''''''''''3''16'''''''''''''''''''''''''">
              <a:rPr kumimoji="1" lang="zh-CN" altLang="en-US" sz="1400" smtClean="0"/>
              <a:pPr/>
              <a:t>1,31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ACCFD304-36B0-4420-159B-0935A69456E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351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1DCC9FB0-22F5-B638-F499-A9DCAEFBCC4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7542213" y="43751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1677DB-BC97-4E5C-B493-C8E9CA38604B}" type="datetime'1,''''4''''''''''''''''''''''''''0''''''''''''1'''''''''''''">
              <a:rPr kumimoji="1" lang="zh-CN" altLang="en-US" sz="1400" smtClean="0"/>
              <a:pPr/>
              <a:t>1,40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79884A1E-92DE-38E4-974C-F0B0024355B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35639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5E0E90A1-D62D-2923-377C-0A230FD1E6D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294689" y="35782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EDBF05-7623-4997-B7C1-5332418B05CA}" type="datetime'''8''''''''''''3''''''''''''''''''''''''3'''">
              <a:rPr kumimoji="1" lang="zh-CN" altLang="en-US" sz="1400" smtClean="0"/>
              <a:pPr/>
              <a:t>83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DF5EACFB-2C85-B150-6977-27F5101A6AD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27765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0B82AECC-1631-6925-D75F-2B942D3EF064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123363" y="34671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667DE4-345B-47F5-A53E-D0052ABA88A4}" type="datetime'2'''''''''''''''',''''''''''''''''''31''''''''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1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31DA83-BC2F-130E-F51B-19F67F1BCB4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736600" y="52832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87234F7-EBDE-4FB0-866E-7EB4CABAB194}" type="datetime'''4''''''''''''''''''''''''1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4D2D36-5E08-DDED-09CE-D14A3E058B67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379538" y="5089525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18066E0-8640-4FFB-A808-9A2B4666C0FF}" type="datetime'''''3''''''''''''''''''''''4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ACA84D4-C3AD-2A44-9E57-B755197B0C74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166938" y="45847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D4273A-3D22-4749-82E2-01D6B5D25F7F}" type="datetime'''''''''''6''''8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517DEA-DF07-FB07-9DCC-0875F862D0AB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2954338" y="430053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2E70D1C-361B-42E7-9F8E-5D30AF14CAA3}" type="datetime'''''''''''''''''''''''''5''''''1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8D2E096-DF89-E060-1468-2837A0B8884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741738" y="515143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EB3BC8-3F21-48DB-8A19-579B6CE1575D}" type="datetime'''''''''''36''''''''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3F8E0C-D68C-7164-3658-CBDF733CBBA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529138" y="504825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4AC2282-B60B-4D47-A9E3-3892792B7033}" type="datetime'28''''''''''''''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BAE4607-C1DE-D3AF-9D38-A17418517A4A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314950" y="522605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C164AD7-C9FC-4F76-997B-E50F13ECBA0B}" type="datetime'''''''''''''''''''''5''''''''''''''''2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1F6202-DD7A-D1F3-19BB-98D29DC27A0D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6102350" y="530066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B2A1E50-79B4-410C-8CE1-8B28E74A0124}" type="datetime'''''''''''''''3''''''''''''''''''''''2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1C68588-12EC-7727-BEAF-7AB7ACA01D6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6889750" y="5168900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8A2D68A-EF46-4691-84F7-8730B3ADFF03}" type="datetime'''''''2''''''''''''''''''''7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83402B7-2396-1F19-FFD1-FAA8626A0F45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7677150" y="503713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12345C0-8872-44A8-9F8C-E4AA5A09A393}" type="datetime'''''''''''''''''''2''''''''''''''7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DF7F480C-EAAE-0E02-7D17-FB6DAB4C802B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9891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169FF91D-9C24-189F-8C83-E8B4A150AD2B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414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C3BA59CF-1BAE-C07A-11E8-AEC4E7A12B9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2017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F53B4219-BF8C-A31E-E77F-C6B90E3D207F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9494838" y="4454525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9E9D0229-80F2-883F-A882-2633C3D5F29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9518650" y="5184775"/>
            <a:ext cx="438150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08457C9-D7FD-48A3-9655-FBDB24445BAC}" type="datetime'''''''''''''''''''''''''''''''''''''+''''''''''''''''''1%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1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F4CD4B49-5007-39FE-1E72-A69AE7BCF9C5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行业广告消耗贡献变化（万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15811043-E645-ED7D-2C49-83500F4BF3DC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72" name="Chart 3">
            <a:extLst>
              <a:ext uri="{FF2B5EF4-FFF2-40B4-BE49-F238E27FC236}">
                <a16:creationId xmlns:a16="http://schemas.microsoft.com/office/drawing/2014/main" id="{B743D606-7FE3-F371-E736-90D8A8477CC2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714870996"/>
              </p:ext>
            </p:extLst>
          </p:nvPr>
        </p:nvGraphicFramePr>
        <p:xfrm>
          <a:off x="10850563" y="3278188"/>
          <a:ext cx="9450387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0399B6FB-5A37-D90B-44B6-2BD40FC80BA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55896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B4093-DA2B-438C-BD5B-3A5EF16BC2D6}" type="datetime'''1'''',''''''''''''''''''''''''''''''''''3''''''''3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31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72B3C87-35B4-81F9-4E2D-B545EC40049F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56B52CAB-A9D6-F51E-97AB-0134A422C57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FC0C18E4-543F-1AB2-4049-9930016D73F5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C17B702A-9208-B115-EA34-ED4B8CBA536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06793808-FCFC-411D-C78E-D6C30BDFABEA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B9F073B3-A35B-695C-142D-C49CBE8082D9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69715E1F-F5BE-3E1D-5974-F973B8B3DE42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1D695215-D73B-A305-5EDD-366B2D9E4B8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ADE26264-3AED-3F79-0D38-29E7CE579FAE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7BF11E04-9488-136D-763D-BADF7E1E8E8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F66B5491-EE6A-C281-4501-5DD1EDD02B8C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E22070C8-5033-0B86-1638-6C51C86B4C7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20361275" y="434816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864906C9-B05A-BFC3-8725-56BDDF8F7485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20361275" y="61499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BD90052-4CCB-AA1E-0C86-C7C94C2C8007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A3ECBA-0DF9-4853-8935-D8C9C180E74B}" type="datetime'''1'''',''''''''2''''4''''''''9'''''''">
              <a:rPr kumimoji="1" lang="zh-CN" altLang="en-US" sz="1400" smtClean="0"/>
              <a:pPr/>
              <a:t>1,249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193360E9-E75E-E5FB-8EA2-FEF9E1EE5D45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5E0D59-9498-4871-B198-51F302B5BEBA}" type="datetime'''''1'''''''''''',''''''''''''''''''37''''''''''0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70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3D203C18-6E26-92DA-54AD-CE5B6F873C3C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D431A0-6874-42C1-BF89-1F9FC29AC36A}" type="datetime'''''''''''''''''''''''1'''''''''''''',7''''''''1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14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591A1BFA-5D28-AA57-D9F4-0D0226FD5DBE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378267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963C2D-5B38-42BE-8E5C-EB5D94918A59}" type="datetime'''''1,''''''''''''''''''''8''''''''8''9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89</a:t>
            </a:fld>
            <a:endParaRPr kumimoji="1" lang="zh-CN" altLang="en-US" sz="1400" dirty="0"/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2CC4A1DE-5CA3-BD94-0B5D-E889BE4A85D2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EDB9725D-C425-74E5-6955-45D55036F871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53352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FFCAB-A4FD-4645-99A9-74C35A1BC3C8}" type="datetime'''1'''''''''''''''''''''''',''''''''''3''9''''4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94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3D52D624-7792-4A6F-CFF4-07133938800C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1099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215758-8C66-4A5A-95C5-80298A722E49}" type="datetime'1'''''''',''''''''''''2''''''9''''''''''''1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9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474AD6F3-9D5E-FDC1-3F08-6175B6467FB1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688623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F92375-84BF-468D-A260-7EAC8C9E1222}" type="datetime'''''''1'''''''''''''''''''''',''2''''''''''3''''''3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3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EA6F62F5-68B4-E2D0-A70A-D2E93F6D3CAA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766252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EB59B-44A8-4920-90C4-74149E37B663}" type="datetime'''''''''''''''1'''''''''''',''''3''1''''''6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1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9C160751-C746-68BD-4CD0-6B81FC36003A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843881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909C1A-4790-4E6C-898E-7BACF97BD0E7}" type="datetime'''''''''''''''''''''''''1,''''4''''''''''0''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40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CA4B7EA5-0DA0-E681-2C13-91886C2F069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9305589" y="33226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93EC21-56A8-4E3A-BA20-35ED2808B6C2}" type="datetime'8''''''''''3''''''''''''''''''''''''''''''''3'">
              <a:rPr kumimoji="1" lang="zh-CN" altLang="en-US" sz="1400" smtClean="0"/>
              <a:pPr/>
              <a:t>83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BDD73119-2EEB-C5C0-5F02-EB89D141CA3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1998980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89601-147B-4661-AC05-2EA4E27AA564}" type="datetime'''2,''''3''1''''''''6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1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33E26AC-8CCC-789B-4AA0-C4F9E3D715C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5447963" y="34988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95E99AD-E127-417F-B1C4-7861D394A8D3}" type="datetime'2''''''''''''''''%''''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32E2922-1B51-135C-12E8-13119D4914B5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7775238" y="35004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513CFA-ADAD-460C-BC9D-C1A693DB8003}" type="datetime'''''''''''''''''''''''''''''''''2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00D4D-896B-23BB-6B12-F83A71F00CF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8551525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BE37AD-158E-4B8F-B1E0-3F169A6DF70F}" type="datetime'''''2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DDCAA3-8D51-37C2-552D-A25CFD37CEB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9326225" y="34845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B16151-74E7-47F2-AA3C-5D2A8D7368FA}" type="datetime'''''''''''''''''''''''''''''''''1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71A462C-571E-9E6C-C82A-74788F731D4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9942175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30CA9D-4DF4-4C5C-BE9C-8195567E9058}" type="datetime'''''''''''''''3''''''%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96EFF24-024D-9226-5961-ADF93668BB2C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2344400" y="350837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C4B2319-0114-4316-904A-4F5187A9928E}" type="datetime'''''''''''2''''''''''''''''''''''''''''%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31D9C59-FD16-CACC-ECFD-44774D7B01D3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4671675" y="35115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09A118-5D8D-4FF3-8C23-94121D4B0CDD}" type="datetime'''''''''''''''''''''''''''3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C908E1-2A97-E932-954E-3EA2776C362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6998950" y="35099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F24631C-5016-42FD-BCF1-9B113DFB084F}" type="datetime'''''''''''''''''3''''''%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7269ABD-8BA4-ED61-67E4-9F82FC1B0A96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1728450" y="35226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FA22EC-BD7A-4F22-8EF0-D474FD88C8EC}" type="datetime'3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8502474-5706-79BB-30D2-0BBCA5D32D1F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895388" y="35115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E39B262-7152-4C95-9A21-A32CEE63B486}" type="datetime'''3''''%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EF4CB5D1-D948-A3A4-F770-D88AD8ADA350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6204C382-649F-B71D-8D23-5501EBD550A2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EC1A3E98-B006-B7C5-40F9-EA4306CF8663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9BD4E5DA-96E3-4559-623F-638E340B3A9B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1792446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879BF-54C5-784B-DC03-E5AC26D31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61D13A-4B6A-B3DA-D390-A0B070FA52F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1920560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7" imgW="7772400" imgH="10058400" progId="TCLayout.ActiveDocument.1">
                  <p:embed/>
                </p:oleObj>
              </mc:Choice>
              <mc:Fallback>
                <p:oleObj name="think-cell 幻灯片" r:id="rId15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B71261-8D74-FC90-DC43-CD0A1DAF3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9" name="Chart 3">
            <a:extLst>
              <a:ext uri="{FF2B5EF4-FFF2-40B4-BE49-F238E27FC236}">
                <a16:creationId xmlns:a16="http://schemas.microsoft.com/office/drawing/2014/main" id="{5065FD1D-F1C2-3044-8389-8BF29264BE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765576"/>
              </p:ext>
            </p:extLst>
          </p:nvPr>
        </p:nvGraphicFramePr>
        <p:xfrm>
          <a:off x="700088" y="3286125"/>
          <a:ext cx="8734425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9"/>
          </a:graphicData>
        </a:graphic>
      </p:graphicFrame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74772344-77F4-3568-97A9-FD22E69564C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23900" y="6415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6BDC53FD-A7C3-7C37-36B7-7E4FC9512CB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23900" y="72675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E3150EE1-6782-FB30-C70C-0FA874A2AE1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23900" y="67897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直线连接符 234">
            <a:extLst>
              <a:ext uri="{FF2B5EF4-FFF2-40B4-BE49-F238E27FC236}">
                <a16:creationId xmlns:a16="http://schemas.microsoft.com/office/drawing/2014/main" id="{BDF2A748-552E-CC49-F924-023354ACA54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23900" y="5938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线连接符 230">
            <a:extLst>
              <a:ext uri="{FF2B5EF4-FFF2-40B4-BE49-F238E27FC236}">
                <a16:creationId xmlns:a16="http://schemas.microsoft.com/office/drawing/2014/main" id="{49A43DBD-9981-BFC8-473F-3F977A173AE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23900" y="7027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直线连接符 235">
            <a:extLst>
              <a:ext uri="{FF2B5EF4-FFF2-40B4-BE49-F238E27FC236}">
                <a16:creationId xmlns:a16="http://schemas.microsoft.com/office/drawing/2014/main" id="{9F65B653-74CC-B3C0-B05B-C4782B3DA2C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23900" y="56991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直线连接符 236">
            <a:extLst>
              <a:ext uri="{FF2B5EF4-FFF2-40B4-BE49-F238E27FC236}">
                <a16:creationId xmlns:a16="http://schemas.microsoft.com/office/drawing/2014/main" id="{818C68D4-31D7-6FB1-A116-0619944B046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23900" y="54610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线连接符 237">
            <a:extLst>
              <a:ext uri="{FF2B5EF4-FFF2-40B4-BE49-F238E27FC236}">
                <a16:creationId xmlns:a16="http://schemas.microsoft.com/office/drawing/2014/main" id="{56708FBE-48CB-17ED-22BF-4AA0891D4D0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23900" y="52228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线连接符 238">
            <a:extLst>
              <a:ext uri="{FF2B5EF4-FFF2-40B4-BE49-F238E27FC236}">
                <a16:creationId xmlns:a16="http://schemas.microsoft.com/office/drawing/2014/main" id="{AA8903ED-5552-27BF-2F60-F7345B55253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23900" y="4983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线连接符 239">
            <a:extLst>
              <a:ext uri="{FF2B5EF4-FFF2-40B4-BE49-F238E27FC236}">
                <a16:creationId xmlns:a16="http://schemas.microsoft.com/office/drawing/2014/main" id="{5F7804D6-4647-9311-E7A8-B853879B769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23900" y="47450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直线连接符 240">
            <a:extLst>
              <a:ext uri="{FF2B5EF4-FFF2-40B4-BE49-F238E27FC236}">
                <a16:creationId xmlns:a16="http://schemas.microsoft.com/office/drawing/2014/main" id="{C1537764-F3F4-B2C7-C316-6CFFA1862F9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23900" y="4506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线连接符 244">
            <a:extLst>
              <a:ext uri="{FF2B5EF4-FFF2-40B4-BE49-F238E27FC236}">
                <a16:creationId xmlns:a16="http://schemas.microsoft.com/office/drawing/2014/main" id="{4CE373A9-D6F9-3EA7-4B7E-2721962A44F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23900" y="42672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直线连接符 245">
            <a:extLst>
              <a:ext uri="{FF2B5EF4-FFF2-40B4-BE49-F238E27FC236}">
                <a16:creationId xmlns:a16="http://schemas.microsoft.com/office/drawing/2014/main" id="{668BC837-9E69-5C09-D6E2-C93360AA874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23900" y="4029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直线连接符 246">
            <a:extLst>
              <a:ext uri="{FF2B5EF4-FFF2-40B4-BE49-F238E27FC236}">
                <a16:creationId xmlns:a16="http://schemas.microsoft.com/office/drawing/2014/main" id="{0608783B-1F02-1325-ADFE-0A8A20B36AD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23900" y="37909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直线连接符 247">
            <a:extLst>
              <a:ext uri="{FF2B5EF4-FFF2-40B4-BE49-F238E27FC236}">
                <a16:creationId xmlns:a16="http://schemas.microsoft.com/office/drawing/2014/main" id="{36BD0D6E-FAE7-D12A-3748-67917E846E7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23900" y="35528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7BF3B9B2-C207-81CB-811E-FE38E2FD54C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23900" y="6176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E763BD97-5E23-8C75-09B7-6FB7CD0A7F0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9538" y="3938588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7C58D9E-F165-4725-8174-D4B92FAE3B8D}" type="datetime'''15'''''',0''0''''''''''''''''''''''''''''''''''''0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5,000</a:t>
            </a:fld>
            <a:endParaRPr kumimoji="1" lang="zh-CN" altLang="en-US" sz="1400" dirty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225C8E32-70CC-0860-611E-A3609A25FAD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9538" y="4176713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815ABA3-1DE4-4371-A092-97EC0F0AF469}" type="datetime'1''4,''''''000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4,000</a:t>
            </a:fld>
            <a:endParaRPr kumimoji="1" lang="zh-CN" altLang="en-US" sz="1400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405FEAEA-40F8-9B01-DD58-9C482FE6651D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09538" y="4416425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D107763-E916-48D1-B89B-FD7C0D690EAB}" type="datetime'''''''''''''''''''''''''''''''''''''''1''3'''''',''00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3,000</a:t>
            </a:fld>
            <a:endParaRPr kumimoji="1" lang="zh-CN" altLang="en-US" sz="14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65A76DB3-8CEF-7163-1D7B-3C1E3B6A7B4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9538" y="4654550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6AE61C4-E1E2-4DCD-B15E-BD26BAAEAB86}" type="datetime'1''''2'''''''''',''''''''0''''0''''''0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2,000</a:t>
            </a:fld>
            <a:endParaRPr kumimoji="1" lang="zh-CN" altLang="en-US" sz="14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FE70A0F1-863C-6657-DA13-3E97A47A972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9538" y="4892675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9A60EE9-1987-4109-9936-BB01703BDD17}" type="datetime'''1''''''''''1'''''''''''''',''''0''''''''''00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1,000</a:t>
            </a:fld>
            <a:endParaRPr kumimoji="1" lang="zh-CN" altLang="en-US" sz="1400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9E69728-9D5E-5039-6458-64AAF00F228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9538" y="5132388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4A11F77-796C-4289-99EC-58ED92333900}" type="datetime'''''''''1''0'''',''''''''''''''''''''''''''''00''''0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,000</a:t>
            </a:fld>
            <a:endParaRPr kumimoji="1" lang="zh-CN" altLang="en-US" sz="14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B3C18692-D29A-8BB9-1E89-C46E294E267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00025" y="53705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75FECC2-2194-4AE7-8057-7C2027FBA82F}" type="datetime'''''''''''''''''''''''''''9,0''''''''0''''0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,000</a:t>
            </a:fld>
            <a:endParaRPr kumimoji="1" lang="zh-CN" altLang="en-US" sz="1400" dirty="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733C5C76-BA13-B707-1137-379A87C2D19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00025" y="56086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4262F1C-EA9E-4B0B-9A28-81C6E38DC6AB}" type="datetime'''''''''8'''''''''''''''''',''''''''''00''''''0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,000</a:t>
            </a:fld>
            <a:endParaRPr kumimoji="1" lang="zh-CN" altLang="en-US" sz="14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7B51D564-2471-FFAB-324E-586DD3B9291C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00025" y="584835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EB21DE5-A26B-48FF-8A8F-DA7A3A49E878}" type="datetime'''''''7'',''''''0''''''''''''0''''''''''''''''''''''0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,000</a:t>
            </a:fld>
            <a:endParaRPr kumimoji="1" lang="zh-CN" altLang="en-US" sz="1400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2273998A-6ED0-EA0C-A8E1-01E623F1B95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09538" y="3700463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7FB32C8-3D20-41CE-AA61-CC3C35F78264}" type="datetime'1''''''6'''''''''''',''''''''''''''''00''''''0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6,000</a:t>
            </a:fld>
            <a:endParaRPr kumimoji="1" lang="zh-CN" altLang="en-US" sz="14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80DE24D5-3E87-779C-0518-7ACC2761F932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200025" y="60864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641637E-5425-4990-9280-10F72C9AA351}" type="datetime'6,''''''''''''''''0''0''''''''''''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,000</a:t>
            </a:fld>
            <a:endParaRPr kumimoji="1" lang="zh-CN" altLang="en-US" sz="1400" dirty="0"/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BD4A4A91-DEDC-AA26-ECC5-FE3E0C41DD9B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09538" y="3462338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54BF242-9897-44AD-96CF-D8917CA89372}" type="datetime'''1''''''''7'''''''''',''''''''''''''''''''0''''''0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7,000</a:t>
            </a:fld>
            <a:endParaRPr kumimoji="1" lang="zh-CN" altLang="en-US" sz="14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85871C7-515B-3560-7DF2-0465415E19B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200025" y="63246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1F4A49-8C3E-4470-84DA-CCCE3BF50A8A}" type="datetime'''''5,''''''''''''''0''''''0''''''0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,000</a:t>
            </a:fld>
            <a:endParaRPr kumimoji="1" lang="zh-CN" altLang="en-US" sz="14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B422820-7E08-70B9-6BD9-7265B2AA277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200025" y="669925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FE50198-CFA5-4073-8CD5-EC5E581C843A}" type="datetime'''''''''2,''''''''''''0''''''''''''''''''00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000</a:t>
            </a:fld>
            <a:endParaRPr kumimoji="1" lang="zh-CN" altLang="en-US" sz="1400" dirty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1779153E-603E-7CF3-64AB-62F18A17349E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200025" y="69373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CBF68FA-B03B-459F-BFD8-4BE5146CAFE3}" type="datetime'''''1'''''''',''0''''''''''''''''''''0''''''''''''''''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,000</a:t>
            </a:fld>
            <a:endParaRPr kumimoji="1" lang="zh-CN" altLang="en-US" sz="14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D341F98-5F56-9DEE-E402-17ABA74976E8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15938" y="717708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960BF6F-55B2-48BC-8D54-5DCC137C964D}" type="datetime'''''0''''''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kumimoji="1" lang="zh-CN" altLang="en-US" sz="1400" dirty="0"/>
          </a:p>
        </p:txBody>
      </p:sp>
      <p:sp useBgFill="1">
        <p:nvSpPr>
          <p:cNvPr id="122" name="任意形状 121">
            <a:extLst>
              <a:ext uri="{FF2B5EF4-FFF2-40B4-BE49-F238E27FC236}">
                <a16:creationId xmlns:a16="http://schemas.microsoft.com/office/drawing/2014/main" id="{6517A137-9988-518A-8D38-41A9D73EDE1A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30250" y="6667500"/>
            <a:ext cx="8667751" cy="79376"/>
          </a:xfrm>
          <a:custGeom>
            <a:avLst/>
            <a:gdLst/>
            <a:ahLst/>
            <a:cxnLst/>
            <a:rect l="0" t="0" r="0" b="0"/>
            <a:pathLst>
              <a:path w="8667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0" name="任意形状 119">
            <a:extLst>
              <a:ext uri="{FF2B5EF4-FFF2-40B4-BE49-F238E27FC236}">
                <a16:creationId xmlns:a16="http://schemas.microsoft.com/office/drawing/2014/main" id="{DAC5E563-102A-1943-7690-DD23303C821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30250" y="6667500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1" name="任意形状 120">
            <a:extLst>
              <a:ext uri="{FF2B5EF4-FFF2-40B4-BE49-F238E27FC236}">
                <a16:creationId xmlns:a16="http://schemas.microsoft.com/office/drawing/2014/main" id="{A34F57F2-79C2-5CD8-3D73-AEA699AEA672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30250" y="6724650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64" name="直线连接符 263">
            <a:extLst>
              <a:ext uri="{FF2B5EF4-FFF2-40B4-BE49-F238E27FC236}">
                <a16:creationId xmlns:a16="http://schemas.microsoft.com/office/drawing/2014/main" id="{62FCE2CE-DBED-3355-81AF-A9B5E7553B0E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4098925" y="5461000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1C2FAD6E-403D-3EE8-E657-1241C2AF1EAB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9351963" y="6146800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6EE04A97-2434-B93A-606C-9503EA2C4C28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9428163" y="5457825"/>
            <a:ext cx="0" cy="6921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直线连接符 266">
            <a:extLst>
              <a:ext uri="{FF2B5EF4-FFF2-40B4-BE49-F238E27FC236}">
                <a16:creationId xmlns:a16="http://schemas.microsoft.com/office/drawing/2014/main" id="{5825F781-86B1-1EE3-E4EB-9379EC5C9D8C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5656263" y="5461000"/>
            <a:ext cx="38147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直线连接符 264">
            <a:extLst>
              <a:ext uri="{FF2B5EF4-FFF2-40B4-BE49-F238E27FC236}">
                <a16:creationId xmlns:a16="http://schemas.microsoft.com/office/drawing/2014/main" id="{5D5BC427-04AB-D946-8453-F47FF60F516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878388" y="5461000"/>
            <a:ext cx="3778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线连接符 260">
            <a:extLst>
              <a:ext uri="{FF2B5EF4-FFF2-40B4-BE49-F238E27FC236}">
                <a16:creationId xmlns:a16="http://schemas.microsoft.com/office/drawing/2014/main" id="{D6509032-B8A7-5822-0BEA-4ADFC9BAF8D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782638" y="5461000"/>
            <a:ext cx="135731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032077AA-F39F-26ED-CFBE-31092031734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2540000" y="5461000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直线连接符 262">
            <a:extLst>
              <a:ext uri="{FF2B5EF4-FFF2-40B4-BE49-F238E27FC236}">
                <a16:creationId xmlns:a16="http://schemas.microsoft.com/office/drawing/2014/main" id="{EB227A78-9EE5-9E0A-80A7-061B6F13CCB7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319463" y="5461000"/>
            <a:ext cx="37941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A9E5E03C-3751-F101-4096-79B09AA7BAE7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V="1">
            <a:off x="858838" y="476885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直线连接符 254">
            <a:extLst>
              <a:ext uri="{FF2B5EF4-FFF2-40B4-BE49-F238E27FC236}">
                <a16:creationId xmlns:a16="http://schemas.microsoft.com/office/drawing/2014/main" id="{48C1272E-D75C-8E96-150B-18EAC965678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858838" y="3184525"/>
            <a:ext cx="0" cy="1392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1B21E97D-F902-47BB-77C1-5C6A7F077DCE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58838" y="3184525"/>
            <a:ext cx="8493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直线连接符 257">
            <a:extLst>
              <a:ext uri="{FF2B5EF4-FFF2-40B4-BE49-F238E27FC236}">
                <a16:creationId xmlns:a16="http://schemas.microsoft.com/office/drawing/2014/main" id="{31A5D253-C48D-802E-41A8-FF32F5075DAE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9351963" y="31845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390E42ED-60AD-48C9-BB89-4252EF426F7E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auto">
          <a:xfrm flipH="1">
            <a:off x="3898900" y="4343400"/>
            <a:ext cx="36513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DEB1CC1B-7414-8DD4-7310-0B26A3F69B6D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auto">
          <a:xfrm>
            <a:off x="8569325" y="3568700"/>
            <a:ext cx="3175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50565DAA-408E-789F-EB01-CFF764ACA4F0}"/>
              </a:ext>
            </a:extLst>
          </p:cNvPr>
          <p:cNvCxnSpPr>
            <a:cxnSpLocks/>
          </p:cNvCxnSpPr>
          <p:nvPr>
            <p:custDataLst>
              <p:tags r:id="rId52"/>
            </p:custDataLst>
          </p:nvPr>
        </p:nvCxnSpPr>
        <p:spPr bwMode="auto">
          <a:xfrm flipH="1">
            <a:off x="7794625" y="3705225"/>
            <a:ext cx="31750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932CFAF1-54AA-B017-2C9F-03A04136F17E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H="1">
            <a:off x="827089" y="4768850"/>
            <a:ext cx="155575" cy="619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8496B960-ACED-3A39-185B-231F153700A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H="1">
            <a:off x="7015163" y="4043363"/>
            <a:ext cx="39688" cy="488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90ED4004-73C8-30DA-79EA-74B480D9F46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>
            <a:off x="1562101" y="4752975"/>
            <a:ext cx="61913" cy="584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9C6FF46E-2DB8-A1A4-C5B7-86DA1D97FB06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H="1">
            <a:off x="6235700" y="4181475"/>
            <a:ext cx="49213" cy="542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DC2A05A0-A20F-9935-8CB5-DB187F4ECE08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H="1">
            <a:off x="2339975" y="4692650"/>
            <a:ext cx="36513" cy="565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7D19B64A-90D4-266A-FC14-143D62471902}"/>
              </a:ext>
            </a:extLst>
          </p:cNvPr>
          <p:cNvCxnSpPr>
            <a:cxnSpLocks/>
          </p:cNvCxnSpPr>
          <p:nvPr>
            <p:custDataLst>
              <p:tags r:id="rId58"/>
            </p:custDataLst>
          </p:nvPr>
        </p:nvCxnSpPr>
        <p:spPr bwMode="auto">
          <a:xfrm flipH="1">
            <a:off x="5456238" y="4249738"/>
            <a:ext cx="20638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7510F1BD-BB49-9B1E-71FB-81F5328D3F03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H="1">
            <a:off x="4678363" y="4264025"/>
            <a:ext cx="444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820F6DE4-1D0E-6F78-4961-9EA865562561}"/>
              </a:ext>
            </a:extLst>
          </p:cNvPr>
          <p:cNvCxnSpPr>
            <a:cxnSpLocks/>
          </p:cNvCxnSpPr>
          <p:nvPr>
            <p:custDataLst>
              <p:tags r:id="rId60"/>
            </p:custDataLst>
          </p:nvPr>
        </p:nvCxnSpPr>
        <p:spPr bwMode="auto">
          <a:xfrm flipH="1">
            <a:off x="3119438" y="4487863"/>
            <a:ext cx="555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2D24F27-122F-DA2D-6909-A8CBE2DC7DA6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8375650" y="6594475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10261A9-E1F3-4C9F-BF57-D3DF6F2A7EF2}" type="datetime'''''''''''6'''''''''''''''''''''',''3''''''''''''7''9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,37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D5F9FA6-8ABD-DDE7-F50E-2C4D3A992D69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23988" y="53070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F39C4F-1891-4155-B0ED-0C15D6E8730B}" type="datetime'''''''''''''''''''''''''''''''''''''2''4''''''6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4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33954ABC-5D39-07A5-4B6D-1857CD1777D9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6877050" y="45243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9F9D3A-EBE7-41B2-A395-9D9D0025FAD4}" type="datetime'''''''''''''''''''''''''''''''''''''''''4''''3''''''''6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3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6A0FF738-41C2-0FBE-04E3-01F8F042C4B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656513" y="42195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08AF6A-B785-422C-B65B-0B465783109B}" type="datetime'''''''''''''''''''''''5''''''45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4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4757964A-962F-C379-CA58-D2AB98C93A47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597775" y="6581775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C74C00D-0F13-40B5-A80E-493BCD85E73F}" type="datetime'''''6'''',''''''''''4''''''''''''''''''''''''''8''''''''''''9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,48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3553FC4D-7DF0-7F5C-5FC8-BE249874FCBF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818313" y="6526213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B2EE836-2CA8-4224-AE28-51573D8AE9F7}" type="datetime'''''6'''',''''''''''''9''5''''''1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,95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F3F711E-7158-63D9-8D50-2619901404A7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6038850" y="64912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12812A-EC10-49DB-8429-D1611E842EE4}" type="datetime'''''7'''''''''''',''''2''''''''''''''4''''6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,24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60A7319-8A10-0F0C-73BF-F915F8D46C1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5259388" y="64595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656D1C2-5DF6-4DC8-BBE3-EF96595F3318}" type="datetime'''''''7'''''',''''''''''''''''''5''''''''''''''''''''0''''6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,50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64537D7-CF25-AC80-5530-0E5BF00A048C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4481513" y="64325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B0B1E05-B15C-47CA-A33C-BF8426EC73DA}" type="datetime'''''''''''''''''7'''''''',''''7''3''''''''''''1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,73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B2FCF542-885E-2F9E-6067-FFE1820E300F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3702050" y="64150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5F0CBF-0C36-4D9A-8A8E-13B69C6C34BE}" type="datetime'''7'''',8''''''''''''''''''''''7''''''''9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,87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BFCBF4-A20D-F214-9273-A214AC23E332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2922588" y="637857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669423C-2A8B-4E53-8778-635B4FCFEABA}" type="datetime'''''''8'''''''''''''''''''',''''''''''''''1''''''''''9''''''1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,19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1FC7070-45AB-9D8E-512D-690DAE79B0E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2143125" y="63515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ACB507D-04A1-41AA-92F4-DEB4F7FD204D}" type="datetime'''''''8'''',''''''''''''''''''40''''''''''9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,40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284A3D5-729A-D8BF-58F2-340920B36D5F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365250" y="63198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E88B1F-B204-4724-8E1A-84A9BBE7152D}" type="datetime'''''''''8'',6''''''''''''77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,67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E63AF2C-8110-A52A-3892-29C3309DC0FE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827088" y="62817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CA1F878-D28B-4365-A961-EE83E0A67F9B}" type="datetime'''''''''''''''''''''''''''''''8'''''',''9''''''''''''9''9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,99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0F39D0-8FFC-D4E9-236C-EE2DCC1C88D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9029700" y="357663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5924C1-9E1B-485B-A968-E189515D9748}" type="datetime'''5''''''''''''''''''''''''''8''''8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8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32B04A4B-1B97-33CC-EB46-65CB61D7B211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9078913" y="337502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AEA883-AA4D-4A1C-B78A-F55F93C75E16}" type="datetime'''''''''''''''''''''''1''''''''''6'',''''8''''4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84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D44D82A3-532B-EF56-FA60-F97917A0B6B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294688" y="337661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736EE1-26FE-4C60-836D-C4CDBA6C7475}" type="datetime'''''''''''''''16'',''''20''''''''6'''''''''''''">
              <a:rPr kumimoji="1" lang="zh-CN" altLang="en-US" sz="1400" smtClean="0"/>
              <a:pPr/>
              <a:t>16,20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C870CC47-F0E1-4FD7-0467-FC520BAD09AC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7559675" y="35131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A25DB8-3B0B-423A-B9AA-AAE586C0898D}" type="datetime'''''''''''''''1''''4'''''''''''''',''''1''''2''''''''8'''">
              <a:rPr kumimoji="1" lang="zh-CN" altLang="en-US" sz="1400" smtClean="0"/>
              <a:pPr/>
              <a:t>14,1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0C223A74-DDC5-FF10-2D35-9258DB716EBE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6789738" y="38512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1EAD37-1FBF-4FA3-AC7C-40D1C6C295AE}" type="datetime'''''''''''''1''''''''''''''''2'''''''''''',8''''''''00'''">
              <a:rPr kumimoji="1" lang="zh-CN" altLang="en-US" sz="1400" smtClean="0"/>
              <a:pPr/>
              <a:t>12,8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546EA96B-F203-C788-D770-23C56D9ECE18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6019800" y="398938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C51E90-3228-430F-9912-17DDA8EDB94F}" type="datetime'''1''''''''''''''1'''''',''''''''''''''''''''''''997'''">
              <a:rPr kumimoji="1" lang="zh-CN" altLang="en-US" sz="1400" smtClean="0"/>
              <a:pPr/>
              <a:t>11,99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7B1D01C3-29E1-ED3E-62F3-37F7E7194B50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5207000" y="405765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E1B04A-6799-4055-8362-A4072DC9D342}" type="datetime'''''11'''''''''''''',''''2''''9''''''''''''''3'''''''''''">
              <a:rPr kumimoji="1" lang="zh-CN" altLang="en-US" sz="1400" smtClean="0"/>
              <a:pPr/>
              <a:t>11,29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F73BD398-1A4F-5D79-D2F0-4C369411DE2C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4456113" y="40719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4F9EB0-3F8C-4B5C-8A7B-684C74D9014D}" type="datetime'1''0'''',''''''7''''''''''''''8''0'''''''''''''''''''">
              <a:rPr kumimoji="1" lang="zh-CN" altLang="en-US" sz="1400" smtClean="0"/>
              <a:pPr/>
              <a:t>10,780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06E76438-559F-383A-0AE6-EB75CEE24192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667125" y="415131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659658-9B41-44F4-8BEE-558A491CFE25}" type="datetime'1''''''''0'''''',3''''''''64'''''''''''''''''''''''''''''''''">
              <a:rPr kumimoji="1" lang="zh-CN" altLang="en-US" sz="1400" smtClean="0"/>
              <a:pPr/>
              <a:t>10,364</a:t>
            </a:fld>
            <a:endParaRPr kumimoji="1" lang="zh-CN" altLang="en-US" sz="1400" dirty="0"/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BE04FADC-513B-D66C-9223-D98FF71D8A34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909888" y="42957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E5F51B-5ED0-46A6-8A47-93D8DC787873}" type="datetime'''10'''''',''''1''2''''2'''">
              <a:rPr kumimoji="1" lang="zh-CN" altLang="en-US" sz="1400" smtClean="0"/>
              <a:pPr/>
              <a:t>10,122</a:t>
            </a:fld>
            <a:endParaRPr kumimoji="1" lang="zh-CN" altLang="en-US" sz="1400" dirty="0"/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37204558-82A9-3D6E-7E42-569DCBFE5FDF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154238" y="45005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09264D-0D52-4608-9BBD-9D450AE0CFA0}" type="datetime'9'''''''''''''''''''',''''7''''''''5''''''''9'''''''''''''">
              <a:rPr kumimoji="1" lang="zh-CN" altLang="en-US" sz="1400" smtClean="0"/>
              <a:pPr/>
              <a:t>9,759</a:t>
            </a:fld>
            <a:endParaRPr kumimoji="1" lang="zh-CN" altLang="en-US" sz="1400" dirty="0"/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4089ED8A-70EE-33C6-A4F7-B349A69158EC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406525" y="45608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766089-A2DA-41AA-9F5A-239C70417A96}" type="datetime'9'''''''',''''''''''''4''''''''''''''26'''''''''''''''''''">
              <a:rPr kumimoji="1" lang="zh-CN" altLang="en-US" sz="1400" smtClean="0"/>
              <a:pPr/>
              <a:t>9,426</a:t>
            </a:fld>
            <a:endParaRPr kumimoji="1" lang="zh-CN" altLang="en-US" sz="1400" dirty="0"/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1BA5A246-368E-0AF1-5784-1F37370566FE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777875" y="45767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19B524-B4FA-41BB-8352-CDD929FEC70A}" type="datetime'''9'',''''''''''2''''1''''''''''''''''''2'''''''''''''''''''">
              <a:rPr kumimoji="1" lang="zh-CN" altLang="en-US" sz="1400" smtClean="0"/>
              <a:pPr/>
              <a:t>9,212</a:t>
            </a:fld>
            <a:endParaRPr kumimoji="1" lang="zh-CN" altLang="en-US" sz="1400" dirty="0"/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2ECDA255-5DB6-4CA8-24FC-996467BC5AB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9494838" y="66119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03DD9970-88DF-D4F1-5C48-D80D72F03BFE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9494838" y="484346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BE755B5E-44BC-5E4C-0797-2978ADAE017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9494838" y="35639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A53F4EC1-2D58-5B85-3C67-A9A14E9C071B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395DF0EA-6EDE-A9E0-7D30-53558A7DE44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82946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886A087A-1EE7-B953-9B16-05B96E63798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8434388" y="36798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91A088-E747-450E-8FD9-D7D4F29A0AC2}" type="datetime'''''''''''''''1''''''''6''''''''''''''''''9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4FD39862-0E4A-108F-DAA5-AFA04780DD3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751681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AE31F6B5-8A71-2F02-0709-F17E3FEDA0D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6737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7DB649-897E-0B32-7872-B81795B2BA0A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827088" y="535305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5A85DE9-79F3-46A8-80A1-B89512B525D2}" type="datetime'2''''''''''''1''''''''3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1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F2A0B9D4-9BB8-A1E9-BA30-C4B5265DA71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59578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ED30995-5CFF-AAF1-BB9C-8B90608BC31C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097588" y="470535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0DE85F4-38D7-41BB-BE83-C0ECA2FEFE7E}" type="datetime'''''''''''''''''35''''''''''''''''2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5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55E7F0A9-A24D-9004-1CB3-E97B52A307A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51784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63C6D6B-27BF-8A93-E861-CE27601BB87D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5318125" y="485933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C0F2A5-8B63-455E-9A58-6196E5024F39}" type="datetime'''''''2''''''''''''''''''''''3''''''''''9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3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33109D8D-63FC-A473-39DB-0EC0B7CC9F5E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5048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48867DB7-2448-AB7C-06DB-5B3B38450616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4400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F9D8F11-35BF-A310-B576-3501A717538E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4540250" y="49942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6D7E0C-E345-4673-A101-E274A482F19C}" type="datetime'''''''''''''''''''33''''''''''''''4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3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A43521D9-4402-E72C-C06A-5931EE817996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36210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9C28C0C-3B21-D398-1218-7A525C1E1DE5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3760788" y="50831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DA84048-60B8-46A4-BC42-99D6B6E60363}" type="datetime'''''''''''''''''''''''''''''''''''''''''2''''5''''''''''''''0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5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5997996A-0A86-B16C-8EDE-0B041337CF28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28416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C187F5D-8599-A417-2F78-5B69699470FA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2981325" y="51419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A14C4C3-4844-451F-997A-DE704FB95137}" type="datetime'''''''2''''''''''''''6''''''''''''3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6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EEAD2F5C-9350-A513-1CCB-0E39696DE06B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206216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6DB2C68-1F89-556F-7563-AD1C03259E6C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2201863" y="523240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CBA1B0-EA69-45DC-8D59-0B1C8C747648}" type="datetime'2''''''''''''''9''''''''''''''''''''''''''''''''''''''''9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9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EE115D13-A329-81B2-08F1-0EDFC3AB63E4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2842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5B2AE2A7-3DAB-90AF-EDFC-B4F1DB9CAD3E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423988" y="5395913"/>
            <a:ext cx="27781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EBAD04-6C02-474B-925D-DEA36A126CB4}" type="datetime'''''''''''''''''''50''''''''3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3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BB9F4E10-5BCD-6B7A-11A9-4637D6C5767C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8913813" y="6624638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682244C-F691-43AD-9AC5-81DFFB787219}" type="datetime'6,1''''3''''''''''''''0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,13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9323D9B7-3E72-8E7D-D041-6CA570E60098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9169400" y="5624513"/>
            <a:ext cx="517525" cy="273050"/>
          </a:xfrm>
          <a:prstGeom prst="ellipse">
            <a:avLst/>
          </a:prstGeom>
          <a:solidFill>
            <a:srgbClr val="E9163C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CE9EF7E-C1C2-4F80-9776-AB31490D7E1F}" type="datetime'''''''''''''''''''''''''''''-''32%''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-32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C90D68B1-28F7-85D1-B496-19EDB277F4DA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4822825" y="3048000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2E792F-62CA-4932-839B-B3512EADFF07}" type="datetime'''''''''''+''8''''''''3''''''''''''''%''''''''''''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83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3F2B3B75-CE94-1DC2-A998-A4364DF5EEA5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行业在线门店量（店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7368AE07-5020-189A-6A82-99387ABE9016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251" name="Chart 3">
            <a:extLst>
              <a:ext uri="{FF2B5EF4-FFF2-40B4-BE49-F238E27FC236}">
                <a16:creationId xmlns:a16="http://schemas.microsoft.com/office/drawing/2014/main" id="{AF4E1B53-AD9B-3556-20F0-E649DEF5BB78}"/>
              </a:ext>
            </a:extLst>
          </p:cNvPr>
          <p:cNvGraphicFramePr/>
          <p:nvPr>
            <p:custDataLst>
              <p:tags r:id="rId115"/>
            </p:custDataLst>
            <p:extLst>
              <p:ext uri="{D42A27DB-BD31-4B8C-83A1-F6EECF244321}">
                <p14:modId xmlns:p14="http://schemas.microsoft.com/office/powerpoint/2010/main" val="2644025544"/>
              </p:ext>
            </p:extLst>
          </p:nvPr>
        </p:nvGraphicFramePr>
        <p:xfrm>
          <a:off x="10850563" y="3278188"/>
          <a:ext cx="9450387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0"/>
          </a:graphicData>
        </a:graphic>
      </p:graphicFrame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70B6631A-041B-B7DF-574A-13A3011667CC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BDCBA8F-CC95-2954-3A60-0AEE1F998F5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11728450" y="35052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2EF10A9-C9BB-4D3D-B1A3-D3A2FD2183F6}" type="datetime'''''''''''''''2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46368DFA-7BAD-8A43-6D80-FCE028B3E19D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7EF2C6D9-A66F-CA49-BC0F-22217EA9D788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3A7835B-ACDD-3698-1479-83F9893D5B18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13895388" y="35099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A9FF80D-8518-45D6-A036-1C1B17F995D0}" type="datetime'''3''''%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5B24F5BC-4FF4-83EF-4AA7-FACD2C775136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1876BB4-B1F8-7365-A19B-C87C8345B27C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14671675" y="35067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88E32C-B541-46F1-ADEB-39ADD7E24DB8}" type="datetime'''''''''''''''''2''''''''''%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E5E847C6-E5C3-6A17-E7A4-00CB4463555C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1082CE-7696-100C-AFCA-361368B863B2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15447963" y="35194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CCEDC41-AFA5-4A02-8D46-F74A614C9680}" type="datetime'3''''%''''''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00AFCDB8-D510-85B6-54E2-4A600BBC02D3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829A9D3D-AC9B-46BB-FE60-C0E1F720F0B4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6F75E3F-82AA-4C90-A898-3ADF508E8284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16998950" y="351631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F7485F-359E-4964-A4FC-8AE02779F59F}" type="datetime'''''''''''''''''3''''''%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DE6154C7-1E16-EE3B-FB71-E0B21A49C31D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A5612A24-1C55-C18E-5E80-07B07D7E715D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F473DE94-3057-EC34-A568-A9302FB27D07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79A8B55-6017-BE1B-1C59-83F00B11D018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19326225" y="34813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B16151-74E7-47F2-AA3C-5D2A8D7368FA}" type="datetime'''''''''''''''''''''''''''''''''1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2D9A124-2AC4-C633-51F8-7DE5E8EFC498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90251EB-616D-3C8B-87AC-46B0630D6AD7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gray">
          <a:xfrm>
            <a:off x="19942175" y="35258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3E6549C-224A-45FE-BD9D-D417470E1D1E}" type="datetime'''''''''''''''3''''''%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3D1F9778-FDE6-5564-C901-7837D62B4DAD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512E1D3C-8D5F-CF91-BBBC-0972AB7EB4B8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B69F6158-3AD3-E0B8-CE74-687F0634BCC4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20361275" y="4694238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0E4AB1FB-39B1-1E58-CBAA-761CFD1721D7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20361275" y="64881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4994DEE1-0E48-B886-A71C-0EB111AF8578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F1040A-05EF-432D-951B-AF7DD2E5A430}" type="datetime'9'',''''2''''''''1''''''2'">
              <a:rPr kumimoji="1" lang="zh-CN" altLang="en-US" sz="1400" smtClean="0"/>
              <a:pPr/>
              <a:t>9,212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16535773-6CFC-DFEF-4DB7-04B570EC5FA6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6266ED-F66E-4E26-8649-87330B06F6DB}" type="datetime'''''''''''''''''''9'''''''''',4''2''''''''''''''''6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426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5616806F-FDA1-D7BA-543F-015A9EB0B3C5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987F86-9294-4EAA-93BC-218C950A84FD}" type="datetime'''''''''''''''''''''''''''''''9'''',''''75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759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19BE74D7-8163-A256-3CA7-982E01003E3A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gray">
          <a:xfrm>
            <a:off x="1373822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65A2D8-F101-4D58-BDA7-8A0593A1690C}" type="datetime'''''''1''''''''0'''''',''1''''2''''''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122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B3D318CB-90B8-8136-0424-2ED39C47EF18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gray">
          <a:xfrm>
            <a:off x="1451451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F4D562-789A-48D7-96F8-829ECAC60E91}" type="datetime'''1''''''''''0,''''''''''''''''''3''''''''''''''''64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364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F9DAF5A8-6230-B62A-9942-B153FFC9C89E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gray">
          <a:xfrm>
            <a:off x="152908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056EBC-D47D-4512-951D-654E68FB4F68}" type="datetime'''10'''''',''''''''''''''''7''''''''''''80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780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62DFE709-D35B-BAA1-C336-5EAD334CD208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gray">
          <a:xfrm>
            <a:off x="160655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55B938-0A81-458D-84F8-464183D693FA}" type="datetime'''1''1'''''''''',''''''''''''''''''''''''''''''''2''9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,29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3005077D-B775-BC46-A811-6092107F0863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gray">
          <a:xfrm>
            <a:off x="1684178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D3955-93B7-44A5-B0C6-F6356AF3FFCF}" type="datetime'''''''11'',9''''''''''''9''''''''''''7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,99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87893A03-5C60-4C1C-CED3-0FC3C718FB52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gray">
          <a:xfrm>
            <a:off x="1761807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180E88-A2FB-4290-A136-063F1AE2F7EF}" type="datetime'1''2'''''''',''''''''''''8''''''0''''''''''''''''''0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8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443FBE12-A733-580A-F5FB-1A3EDA44F7D0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gray">
          <a:xfrm>
            <a:off x="1839436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EA663E-4ED4-44FB-8EE6-994D1B257916}" type="datetime'''''1''''''''''4'''',''''''''''''''''''''''''''''''12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,1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2145BF94-3ED2-BAA9-5023-76518DD1688C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gray">
          <a:xfrm>
            <a:off x="19305588" y="33226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7CFC8-D2B8-45BE-882E-87EC150EEA82}" type="datetime'''''''''''''1''''''''''6,''''2''''''''''''''06'''''''''''''''">
              <a:rPr kumimoji="1" lang="zh-CN" altLang="en-US" sz="1400" smtClean="0"/>
              <a:pPr/>
              <a:t>16,20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9F15DCAC-2495-343C-C4FE-D9A9D205053F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gray">
          <a:xfrm>
            <a:off x="1994535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6C4FD4-532D-4D96-948A-F73F57D95FA3}" type="datetime'''''''''1''''6'''''''''''''''''''''',''''8''''''''''''4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84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1DCBF77-25B6-E168-C975-8D8CAE885F75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gray">
          <a:xfrm>
            <a:off x="13119100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43C8686-5F45-4D02-B231-8566F59A3655}" type="datetime'''''''''''''''''''''''''''3''''''''''''''''''''''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5899737-9EE9-E4AE-77AE-1EABBEE23D90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gray">
          <a:xfrm>
            <a:off x="16222663" y="35004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F8851B-CB4B-4486-85CF-AED9248D0E21}" type="datetime'''''''''''''''''''''''''''2''''''''''''%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C17B1844-99AC-FDEA-D4DA-179DD0E2FDAB}"/>
              </a:ext>
            </a:extLst>
          </p:cNvPr>
          <p:cNvSpPr txBox="1">
            <a:spLocks/>
          </p:cNvSpPr>
          <p:nvPr>
            <p:custDataLst>
              <p:tags r:id="rId152"/>
            </p:custDataLst>
          </p:nvPr>
        </p:nvSpPr>
        <p:spPr bwMode="gray">
          <a:xfrm>
            <a:off x="17775238" y="35242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8587DA5-0665-46D7-BC95-58763D58ACE6}" type="datetime'3''''''''''''''''''''''''''''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E44966D3-DF5A-6B94-63CD-AE5564C26BB4}"/>
              </a:ext>
            </a:extLst>
          </p:cNvPr>
          <p:cNvSpPr txBox="1">
            <a:spLocks/>
          </p:cNvSpPr>
          <p:nvPr>
            <p:custDataLst>
              <p:tags r:id="rId153"/>
            </p:custDataLst>
          </p:nvPr>
        </p:nvSpPr>
        <p:spPr bwMode="gray">
          <a:xfrm>
            <a:off x="18551525" y="353377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A89D7D-0505-4406-AF09-3F85BCE8B1C5}" type="datetime'''4''''''''''''''''''%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3038CC5-0BD8-1EDE-47F8-262ADA98D596}"/>
              </a:ext>
            </a:extLst>
          </p:cNvPr>
          <p:cNvSpPr txBox="1">
            <a:spLocks/>
          </p:cNvSpPr>
          <p:nvPr>
            <p:custDataLst>
              <p:tags r:id="rId154"/>
            </p:custDataLst>
          </p:nvPr>
        </p:nvSpPr>
        <p:spPr bwMode="gray">
          <a:xfrm>
            <a:off x="12344400" y="35099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96799F-9E34-41ED-B0AB-25398999D460}" type="datetime'''3''''''''''''''''''''''''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92B28F22-5DEE-2BBD-9F1B-D1E6D6CED3BD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06BE7C4E-A505-D20D-FAF7-2273A70F55C7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882C1D56-ACFE-2ACE-6F2F-E6B24BA47784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20490808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2A88E-B219-39B5-A0AA-24B733634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B71261-8D74-FC90-DC43-CD0A1DAF348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095747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8" imgW="7772400" imgH="10058400" progId="TCLayout.ActiveDocument.1">
                  <p:embed/>
                </p:oleObj>
              </mc:Choice>
              <mc:Fallback>
                <p:oleObj name="think-cell 幻灯片" r:id="rId10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0469AD-B2EB-5552-CAA8-A1B73C678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2" name="Chart 3">
            <a:extLst>
              <a:ext uri="{FF2B5EF4-FFF2-40B4-BE49-F238E27FC236}">
                <a16:creationId xmlns:a16="http://schemas.microsoft.com/office/drawing/2014/main" id="{B5E50573-6002-16A7-D042-15F2855ABAB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743362"/>
              </p:ext>
            </p:extLst>
          </p:nvPr>
        </p:nvGraphicFramePr>
        <p:xfrm>
          <a:off x="-14288" y="3286125"/>
          <a:ext cx="94488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0"/>
          </a:graphicData>
        </a:graphic>
      </p:graphicFrame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D97D1CBD-BFB0-A996-737E-FCCA21CD7A6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9428163" y="5281613"/>
            <a:ext cx="0" cy="7334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线连接符 107">
            <a:extLst>
              <a:ext uri="{FF2B5EF4-FFF2-40B4-BE49-F238E27FC236}">
                <a16:creationId xmlns:a16="http://schemas.microsoft.com/office/drawing/2014/main" id="{D0B055A4-CFE7-5B90-958C-B8625D74797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51963" y="6011863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直线连接符 94">
            <a:extLst>
              <a:ext uri="{FF2B5EF4-FFF2-40B4-BE49-F238E27FC236}">
                <a16:creationId xmlns:a16="http://schemas.microsoft.com/office/drawing/2014/main" id="{17C824E0-D7FB-3E77-C000-0D0AB6CE693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878388" y="5284788"/>
            <a:ext cx="45926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E9FBD49F-6857-1351-5E35-E5F82887E99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098925" y="5284788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直线连接符 69">
            <a:extLst>
              <a:ext uri="{FF2B5EF4-FFF2-40B4-BE49-F238E27FC236}">
                <a16:creationId xmlns:a16="http://schemas.microsoft.com/office/drawing/2014/main" id="{CB3D90E4-FD16-916F-5EBF-F7602DFB8BF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319463" y="5284788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直线连接符 67">
            <a:extLst>
              <a:ext uri="{FF2B5EF4-FFF2-40B4-BE49-F238E27FC236}">
                <a16:creationId xmlns:a16="http://schemas.microsoft.com/office/drawing/2014/main" id="{73A4B736-513B-2F1B-2DB1-AE16EDE2284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540000" y="5284788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8DCDC332-C699-BE0D-5CE2-D10CB6E9151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2638" y="5284788"/>
            <a:ext cx="13573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327FB894-E319-76F2-5F95-60CADF305A3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351963" y="32004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线连接符 57">
            <a:extLst>
              <a:ext uri="{FF2B5EF4-FFF2-40B4-BE49-F238E27FC236}">
                <a16:creationId xmlns:a16="http://schemas.microsoft.com/office/drawing/2014/main" id="{D4A7CB0D-BAD7-24C1-4893-F854C5C87A6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58838" y="3200400"/>
            <a:ext cx="8493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线连接符 55">
            <a:extLst>
              <a:ext uri="{FF2B5EF4-FFF2-40B4-BE49-F238E27FC236}">
                <a16:creationId xmlns:a16="http://schemas.microsoft.com/office/drawing/2014/main" id="{37CD26C3-D9FA-4EC0-8FDB-99C378572E8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858838" y="3200400"/>
            <a:ext cx="0" cy="1220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线连接符 54">
            <a:extLst>
              <a:ext uri="{FF2B5EF4-FFF2-40B4-BE49-F238E27FC236}">
                <a16:creationId xmlns:a16="http://schemas.microsoft.com/office/drawing/2014/main" id="{E6B759F9-F33D-D65D-556F-C660DBDF56C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858838" y="4613275"/>
            <a:ext cx="0" cy="325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5BDF7BEB-BA3F-6D67-FADE-1F381F5A41D7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H="1">
            <a:off x="3119438" y="4173538"/>
            <a:ext cx="555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864F67AD-92CC-D7E2-1B38-945DA8B292F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827088" y="4613275"/>
            <a:ext cx="192088" cy="571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线连接符 24">
            <a:extLst>
              <a:ext uri="{FF2B5EF4-FFF2-40B4-BE49-F238E27FC236}">
                <a16:creationId xmlns:a16="http://schemas.microsoft.com/office/drawing/2014/main" id="{691C9753-9E89-E8B8-A884-23D3AEF8FC6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9351963" y="3582988"/>
            <a:ext cx="6350" cy="3794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AE7FAE6B-A951-EA56-0C5C-0314CCB287E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>
            <a:off x="8572500" y="3586163"/>
            <a:ext cx="61913" cy="506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8A82A2AF-529E-BBDD-A8D2-22ABF1CFFC0D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7794625" y="3684588"/>
            <a:ext cx="31750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F216559B-3660-D46C-83A2-3D99B11B80D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7015163" y="3984625"/>
            <a:ext cx="42863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AB52BBA7-ADF2-7777-928B-8D84B7B01949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6235700" y="4011613"/>
            <a:ext cx="36513" cy="493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A06B1CD1-D98A-4B6E-CA5C-7496CB653176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H="1">
            <a:off x="5456238" y="3959225"/>
            <a:ext cx="20638" cy="641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39ED19C4-1B93-8342-EF2C-7B4B8A2C6CF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4678363" y="3957638"/>
            <a:ext cx="444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5C1489C5-BFB0-B82B-960C-25787261F8D1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H="1">
            <a:off x="3898900" y="4024313"/>
            <a:ext cx="36513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9F431B30-EC97-8679-1FC6-94B9BB31A67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2339975" y="4416425"/>
            <a:ext cx="47625" cy="563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CFA5AC41-186A-867B-92B9-CE61F3C21A1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1562100" y="4629150"/>
            <a:ext cx="52388" cy="474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9DC392E7-486E-1124-43DD-5F54013775C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59578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772BC35-6A4B-23C1-B64B-EC26F012595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423988" y="50768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BDF2F69-2E62-42C4-A7C5-94CC0DC4759C}" type="datetime'''''''6''''3''''''4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3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7EDCEB35-4AF1-A5B3-D7FE-2D8881BA552C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352550" y="443706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E305FA-2F81-4F45-8920-33258EA1E019}" type="datetime'2''''''''''''''0'''''''''''''''',1''''''''''''''''7''''7'''''">
              <a:rPr kumimoji="1" lang="zh-CN" altLang="en-US" sz="1400" smtClean="0"/>
              <a:pPr/>
              <a:t>20,177</a:t>
            </a:fld>
            <a:endParaRPr kumimoji="1" lang="zh-CN" altLang="en-US" sz="1400" dirty="0"/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98D2F373-D3FA-5A54-7387-9C1F24F479A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9494838" y="65436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9B8926C2-4D38-60B1-99EB-EB7A954F0E3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2122488" y="42243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81F80E-6FF1-499E-ABBD-9D12320F75B4}" type="datetime'''''''''2''''''''''1'''''''',''''''3''''''''''3''''2'''''''''">
              <a:rPr kumimoji="1" lang="zh-CN" altLang="en-US" sz="1400" smtClean="0"/>
              <a:pPr/>
              <a:t>21,332</a:t>
            </a:fld>
            <a:endParaRPr kumimoji="1" lang="zh-CN" altLang="en-US" sz="1400" dirty="0"/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915EA2D6-A636-3AB2-8A75-929E5A2E914E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494838" y="4979988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3812A2A0-5308-9F7A-25E1-221267BDB058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2909888" y="398145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62F9E0-98D0-4017-8132-B15B3DECE9BB}" type="datetime'2''''''''''2'''''''',4''''''9''''''''''''''''''''7'''''''''''">
              <a:rPr kumimoji="1" lang="zh-CN" altLang="en-US" sz="1400" smtClean="0"/>
              <a:pPr/>
              <a:t>22,497</a:t>
            </a:fld>
            <a:endParaRPr kumimoji="1" lang="zh-CN" alt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8DB26EE-66CF-1A9E-6618-A76046E9B2D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6097588" y="448468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B84DE7E-D3F0-4F27-A1DB-076EFB287CB2}" type="datetime'''''''''7''''''''''''2''7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2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92D3F87C-0B51-ABF7-E258-1FF8C6B3C4B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3667125" y="383222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A4294E-7FC9-4A5E-BC77-30EC75FCCE0D}" type="datetime'''2''''''''''''''''''''''''3'''''',''''''08''''''''''''''''9'">
              <a:rPr kumimoji="1" lang="zh-CN" altLang="en-US" sz="1400" smtClean="0"/>
              <a:pPr/>
              <a:t>23,089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154D40FD-C385-6F60-4BA4-A89BC9A45A0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494838" y="39671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AA105BE6-D5E5-4FE5-DB44-0F06483AAC8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456113" y="376555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DB9BF1-8C3D-414F-9930-50530FFD4510}" type="datetime'''2''''3'''''''',''8''''''''''''''96'''''''">
              <a:rPr kumimoji="1" lang="zh-CN" altLang="en-US" sz="1400" smtClean="0"/>
              <a:pPr/>
              <a:t>23,896</a:t>
            </a:fld>
            <a:endParaRPr kumimoji="1" lang="zh-CN" altLang="en-US" sz="1400" dirty="0"/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74EB10CE-F40F-2C12-D7B2-0DE23D6770FB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A86B26CD-1B1C-F88B-33A8-BABA19F67F0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207000" y="37671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24C49C-37D0-48E4-851E-5B984E7AE4B1}" type="datetime'''''''2''4'''''''''''''''''''''''',''''''9''0''''9'">
              <a:rPr kumimoji="1" lang="zh-CN" altLang="en-US" sz="1400" smtClean="0"/>
              <a:pPr/>
              <a:t>24,90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5F19072B-88D1-FD07-C6BD-52EB425E95E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82946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1A915B9C-10D2-4105-CB11-8515E0FB8A2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6007100" y="381952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7F96F3-A9BB-4F12-8445-D85B3A944BD3}" type="datetime'''''''''25'''''',''''''''''8''''''0''''''''''''''''4'">
              <a:rPr kumimoji="1" lang="zh-CN" altLang="en-US" sz="1400" smtClean="0"/>
              <a:pPr/>
              <a:t>25,80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B19356E4-EEA4-7C85-42E0-B9B16E9C2F4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8434388" y="40624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0484F3-AE83-47C3-90C1-F5E21E0780AC}" type="datetime'''''''''''''5''''''''''''5''''''''''''''''''''6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D71DDDAC-D1DF-F0AC-52E8-131E51A1DF2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6796088" y="37925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B0E8555-0ADB-438F-BA98-C8B4DF634C97}" type="datetime'''''''''2''''''''''7'''''''''''''',''''0''''''72'''''">
              <a:rPr kumimoji="1" lang="zh-CN" altLang="en-US" sz="1400" smtClean="0"/>
              <a:pPr/>
              <a:t>27,07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ADC8169A-E612-63F1-EAA5-1206C5A22131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751681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A9D56A5A-D8A6-BD1D-52CB-526DDEDFE059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7559675" y="349250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BDB2A6-CDB1-4715-9C45-4168CFE46C4D}" type="datetime'''''''''''''2''''''8'''''''''''''''''''',''7''''''''4''7'">
              <a:rPr kumimoji="1" lang="zh-CN" altLang="en-US" sz="1400" smtClean="0"/>
              <a:pPr/>
              <a:t>28,74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926A6A-9CEA-4460-B188-44CEEDDC257B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656513" y="417988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C09755D-87B9-4427-BF32-623E56EF7113}" type="datetime'''''''''''''''''''''''''''''8''''''''''''''''''''''''''''75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7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85549E1E-A8EE-765D-0B00-580287871F9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372475" y="33940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AEC019-0178-415B-A1AB-90DA7937C42E}" type="datetime'''''''''2''9'''''''''''',''''''''6''''''''''''''''9''3'''">
              <a:rPr kumimoji="1" lang="zh-CN" altLang="en-US" sz="1400" smtClean="0"/>
              <a:pPr/>
              <a:t>29,69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9726AD0F-CE2F-BBF4-BEFC-F36BEB0D079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737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99289DFF-7797-410D-57A9-56D5DC718FEA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086850" y="339090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7CFFEB-9987-4447-B67D-6EC4FE06ADD6}" type="datetime'3''''''''''''''''''''''''0,''''''''''''9''''''2''8'''''''''''">
              <a:rPr kumimoji="1"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,9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A460A15-58F7-9D65-1C00-62C2E8D3D58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913813" y="3979863"/>
            <a:ext cx="393700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F3E3660-11F4-4B9F-81A8-031A78E597A0}" type="datetime'''''''''''''''''''1'''''''''''''''''''''''''''',4''75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,47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DFDA18-7DC6-8F30-D708-11AFABE9F93B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6877050" y="43545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DFBE21F-9AFA-403C-820A-DC71F9DD0942}" type="datetime'''''''''''''''''8''''''''''2''''''''''''6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2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EDDD46-1A34-44EB-4B1B-E586C6373880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827088" y="516255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805386C-3082-46CB-A696-360F825976FE}" type="datetime'''''7''''''''''''''''''''2''''''''''''''''''''''''4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2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E22019E8-B363-4A82-C964-96A40DC63B4B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51784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7B796C0-0C3C-7D48-5298-24F303241E3B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5318125" y="456565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AD76CC4-1B4D-4AB7-BBCD-878DD7D75849}" type="datetime'''4''''''8''''''''''''''''''''''8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8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6F354E13-3D42-55CC-A81E-2E5371CCAA6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4400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53B3867-069D-6838-EA73-C9CD10445391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4540250" y="46831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A0C91E-219D-4260-A4DC-95E015D5E176}" type="datetime'''''''''''''''''''''''''''6''''5''''''''''''''''''''''3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5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E8C7A5F3-86EC-9CF8-2D62-B70BC222BD3C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5048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362EE4A1-9892-8F28-DA02-47D9DEE1607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36210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15C7366-8E60-025F-DBE0-1A2C8E06E645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3760788" y="47656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67605E7-94C3-4CE6-8063-E8CD3DEBB36E}" type="datetime'''''''''''''''''''''''''6''''''''''''1''''''''''''''''6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1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81DE028F-7521-58B6-2D07-29A4D4C89E76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28416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C7AD638-8EB6-2648-531B-FF7E03DD5B5E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2981325" y="484028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80A3A60-BE10-46FF-9886-CB8B4118C3AA}" type="datetime'''''''''8''''''''1''8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1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7BE2145A-4649-FC80-F540-C158FECE29A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206216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659B8B5-2D44-EF26-56FC-932BFE5E02C5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2201863" y="49688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9047086-304B-4D92-880E-ED814DBF06C1}" type="datetime'''''''9''''''''''''1''''''''''''''''''0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1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CE0BB379-8E6B-4412-5545-E2221CF839BD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2842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467D5E34-85E4-5091-57E4-60E040254B49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365250" y="5191125"/>
            <a:ext cx="393700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75A97D-8785-4A05-A469-611BDD1151D8}" type="datetime'''''1'''''''''',''''''''''5''3''''''0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530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9A7131D2-DBE2-2FCE-22F0-A9BFE866DEEF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79463" y="442118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1F6C3F-AD9D-4CF2-9B6A-807872AEA467}" type="datetime'''1''9'''''',4''''''''''''''''''''''0''''''''''''''3'''''''">
              <a:rPr kumimoji="1" lang="zh-CN" altLang="en-US" sz="1400" smtClean="0"/>
              <a:pPr/>
              <a:t>19,403</a:t>
            </a:fld>
            <a:endParaRPr kumimoji="1" lang="zh-CN" alt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F3E488DC-67B5-3EB5-501A-E642806856A0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9169400" y="5468938"/>
            <a:ext cx="517525" cy="273050"/>
          </a:xfrm>
          <a:prstGeom prst="ellipse">
            <a:avLst/>
          </a:prstGeom>
          <a:solidFill>
            <a:srgbClr val="E9163C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4F894B-F773-4C71-8A1D-59357539FC90}" type="datetime'-''''37''''''''%''''''''''''''''''''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-37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EFAB926-2CAB-FF3B-2CDA-5A17FC0D857A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4822825" y="3063875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A850B3-067A-43A3-8DE6-ABBB8DA40157}" type="datetime'''''+''''5''''''''''''9''%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59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CF105971-0BB3-EACE-1C2B-AD32EC6146A3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行业在线门店量（店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1CA261AC-E882-A0DC-C67D-81EFBB43D594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9BC3E29C-EA49-D37B-1B42-9F64ACF241D2}"/>
              </a:ext>
            </a:extLst>
          </p:cNvPr>
          <p:cNvGraphicFramePr/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222893321"/>
              </p:ext>
            </p:extLst>
          </p:nvPr>
        </p:nvGraphicFramePr>
        <p:xfrm>
          <a:off x="10850563" y="3278188"/>
          <a:ext cx="9450387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C1F34E2-14D6-C09F-5CC0-7FAFD9AA61A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9942175" y="35496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DA9E647-5F3A-4DBE-9933-D991B1D69BDA}" type="datetime'''''''''''5''''''''''%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83C4F39-6C8D-7B4E-882E-AA1D10E42BC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1728450" y="35306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C7ECB7-0487-4204-85E7-518E6416C4DE}" type="datetime'''''''''''''''''''''''''''4''''''%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2D5B7670-34B2-8500-F8D5-2F404A2DBECF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DCC02533-D515-D1A8-C044-A18D3EDCBAB1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CE375804-4F3D-B765-7E8C-49924E78BCBD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7D3318-1914-124B-B789-56EAB6C1C128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4671675" y="35115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09A118-5D8D-4FF3-8C23-94121D4B0CDD}" type="datetime'''''''''''''''''''''''''''3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E1DCB9DB-3CED-0481-0E6B-1F3DE69DE032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8AEA859-C86F-DE48-07BA-DF9FC021773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5447963" y="35115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21560C4-0FDB-4621-8077-BE11C1B5C788}" type="datetime'''''3''''''''''''''''''%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02DEDB56-C5D0-5A3D-CD75-4011E5D029E0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4C92D5EA-9279-469D-688B-117840F97968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FB81414-13AD-1BD0-408D-78675E93954A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998950" y="35131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F24631C-5016-42FD-BCF1-9B113DFB084F}" type="datetime'''''''''''''''''3''''''%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0BEA0107-3F6D-6402-4E97-2ADB40173DCF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56818A-96DD-10D9-D09F-08E7BA32A7B1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7775238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1BD8D71-DC5F-487B-A325-F20B204EC8BA}" type="datetime'''''''''''''3''''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6F174AE0-6A93-35BE-B7BD-BEF5A2A1596E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D64597-66BB-E641-0663-7B97896EA979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8551525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F20CD4D-3E33-4F24-8B7E-A765D1C5442C}" type="datetime'''''''''''''3''''''''''''''''''''''''''''''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EE4127C7-99AF-FB7F-9961-F5D4252028A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52A2BCA-8BC4-BE87-E6CC-EDD407920B1E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9326225" y="349567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FA26017-7406-4CDC-84D6-7AC74EA2C629}" type="datetime'''''''''''''''''''''''''''2''''%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0C08DDCF-8096-59C7-0555-2EA657AD19C1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6F191F49-D704-AF07-3457-9A7045EAB47A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66C2DC71-F7CA-5B48-30BE-77A6D88209ED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029E1DB2-7844-4B5B-61CB-59D9462D51A5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0B343E74-F4B3-0897-60A1-589125E0886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20361275" y="468471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0FD9CB78-597E-6A45-4D06-A59870DF2F88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20361275" y="64531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6D4787DF-D434-2074-8268-74375763DC0B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1568113" y="32845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4C9CF0-EF00-4186-B991-D7CCBC3C245D}" type="datetime'''''''''1''''''''''''''''''''''''''9,4''''''0''''''''3'''''''">
              <a:rPr kumimoji="1" lang="zh-CN" altLang="en-US" sz="1400" smtClean="0"/>
              <a:pPr/>
              <a:t>19,403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EE487165-4F31-0999-0474-B403EA6E117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218723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8B64A8-FEFD-4043-A923-1E006486DEC6}" type="datetime'''''''20'''',''''''''''''''''1''''''''''''''''''''''7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,177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0C87252D-0279-F9FB-7858-61768970855A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296193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5E456F-F5C4-4116-B5E3-754020619D79}" type="datetime'2''''''''''1'''''',''3''''3''''''''''''''''''''''2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,332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038A9EEA-974C-ECBC-3DEE-5E2E16D1C54F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73822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75D5D4-CAEE-4512-AD7E-A7D4650881D6}" type="datetime'2''''''''''''''''2'''',''49''''''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497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800C83DC-CD76-287E-E596-ECC658A71DC7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451451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C0DA6D-CBE8-415C-8919-9AD088A9EB5D}" type="datetime'''''''2''''''''''''''''''''3,''''''''''''''''''''0''''''''8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,089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0FFED5E3-FA94-DB00-6F40-01B799C3A2C8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52908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7F6F05-6B5D-4B8B-B84B-F0412ED9668D}" type="datetime'''''''2''''''''3'''''''''',''''''''8''''''9''''''''6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,896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DD03B943-46BD-8FE6-2ABE-BCCD1428B3B7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60655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996721-2377-4DCF-AE65-7C899783781B}" type="datetime'''''''''''''''''''2''''''4'''',''''''''''9''''''''''0''''9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,90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C68B0929-A210-9F77-AA59-C2AA8ABAB33B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684178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33DDC-2324-4BD6-8CFD-71BE2C33FBAB}" type="datetime'25'''''''''''''''''''''',''''''80''''4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,80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6C58D0C5-0C07-99CD-0EF7-6F09B92662C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761807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9E52D-1997-4117-9E05-ECBAC38B29CA}" type="datetime'''27,''''''''''0''''''''72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,07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2732A611-D514-24BF-C4CB-9C4E251F1713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839436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52E8B-540A-48FE-9188-6EFD7BE253A3}" type="datetime'''28'',''''''''''''''''''7''''''''''''''''''''''''''47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74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9BC1B11D-744B-5EEA-49B3-A3B1A27787F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9305588" y="33226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00BDB7-9C8F-4697-9A9B-E7C198BC2178}" type="datetime'2''''''''''''''''''9'',''''''''''''''''6''''''''''''''93'">
              <a:rPr kumimoji="1" lang="zh-CN" altLang="en-US" sz="1400" smtClean="0"/>
              <a:pPr/>
              <a:t>29,69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1E11C3E6-9075-EB07-9BEF-0119389863D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994535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216AF6-515A-47ED-88D1-94C18BD868CF}" type="datetime'''''''''3''''''''''''''''''''''''''''''0'''''''',9''''''28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,9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B8800C-6774-1FFC-9C91-F7B67CD604B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6222663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CFB019E-E9D3-4E0D-990E-0186DA6CAF17}" type="datetime'''''''''''''''2''''''''''''''''''''''''''''%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EA53F23-7EF0-67F0-B5BE-8864E45C8D75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2344400" y="35194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7EB8D63-DB8B-4C85-BB03-CA2B301BE6DE}" type="datetime'''''''''''''''''''''3%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1ECB524E-A6B4-00AC-D5E4-FE35DB3C2A1A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F8A08B61-E58D-538C-DB59-C35D4AEB4650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837E1812-3C36-A436-AF20-EFA623825BF6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8228284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97193-F526-AF24-5A54-61C0C9DBCB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FDA67B-9625-7D65-4FE3-87ABC6B4020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216985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88" imgW="7772400" imgH="10058400" progId="TCLayout.ActiveDocument.1">
                  <p:embed/>
                </p:oleObj>
              </mc:Choice>
              <mc:Fallback>
                <p:oleObj name="think-cell 幻灯片" r:id="rId18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61D13A-4B6A-B3DA-D390-A0B070FA5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9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0" name="Chart 3">
            <a:extLst>
              <a:ext uri="{FF2B5EF4-FFF2-40B4-BE49-F238E27FC236}">
                <a16:creationId xmlns:a16="http://schemas.microsoft.com/office/drawing/2014/main" id="{51ED94E1-C9F9-76D6-AEAD-91CBC5E7952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067425"/>
              </p:ext>
            </p:extLst>
          </p:nvPr>
        </p:nvGraphicFramePr>
        <p:xfrm>
          <a:off x="609600" y="3286125"/>
          <a:ext cx="8447088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0"/>
          </a:graphicData>
        </a:graphic>
      </p:graphicFrame>
      <p:cxnSp>
        <p:nvCxnSpPr>
          <p:cNvPr id="31" name="直线连接符 30">
            <a:extLst>
              <a:ext uri="{FF2B5EF4-FFF2-40B4-BE49-F238E27FC236}">
                <a16:creationId xmlns:a16="http://schemas.microsoft.com/office/drawing/2014/main" id="{05D9475A-6540-57AD-C41A-10134339642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33413" y="54895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D6901358-2EF1-3F45-F289-79FFADEDCEF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33413" y="72675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EB82B9ED-5C47-2836-49C2-10FF28700C8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33413" y="6878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线连接符 28">
            <a:extLst>
              <a:ext uri="{FF2B5EF4-FFF2-40B4-BE49-F238E27FC236}">
                <a16:creationId xmlns:a16="http://schemas.microsoft.com/office/drawing/2014/main" id="{E6B02357-1261-598D-418C-83B3AEFB632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33413" y="62642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线连接符 29">
            <a:extLst>
              <a:ext uri="{FF2B5EF4-FFF2-40B4-BE49-F238E27FC236}">
                <a16:creationId xmlns:a16="http://schemas.microsoft.com/office/drawing/2014/main" id="{18C7D44C-3367-75D7-316F-C3EA713999C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33413" y="58769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3666A458-C0F8-F441-9360-45AE8A8E7B3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33413" y="35528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直线连接符 71">
            <a:extLst>
              <a:ext uri="{FF2B5EF4-FFF2-40B4-BE49-F238E27FC236}">
                <a16:creationId xmlns:a16="http://schemas.microsoft.com/office/drawing/2014/main" id="{97CC4989-94F3-4C22-1224-74EB79E1C47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33413" y="39401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线连接符 70">
            <a:extLst>
              <a:ext uri="{FF2B5EF4-FFF2-40B4-BE49-F238E27FC236}">
                <a16:creationId xmlns:a16="http://schemas.microsoft.com/office/drawing/2014/main" id="{109A26D2-69A5-B857-09F5-B6B80C53554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3413" y="43275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直线连接符 67">
            <a:extLst>
              <a:ext uri="{FF2B5EF4-FFF2-40B4-BE49-F238E27FC236}">
                <a16:creationId xmlns:a16="http://schemas.microsoft.com/office/drawing/2014/main" id="{CA84D7F0-BFB1-337E-0AE0-34FB218367E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33413" y="47148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线连接符 43">
            <a:extLst>
              <a:ext uri="{FF2B5EF4-FFF2-40B4-BE49-F238E27FC236}">
                <a16:creationId xmlns:a16="http://schemas.microsoft.com/office/drawing/2014/main" id="{EEC36C68-7649-E9D3-0D2C-7C5ECAE51BF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33413" y="51022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BE726AB-CA6E-4239-A186-CD8DC4FC098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25450" y="717708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960BF6F-55B2-48BC-8D54-5DCC137C964D}" type="datetime'''''0''''''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A9626B0-4726-40C5-2BDD-7771445FCB2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9538" y="34623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4963CD6-F986-4C42-95CD-B7CBE65BDE1D}" type="datetime'''''6'''',''''''''''''''0''0''''''''''''''''''''''''''0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,000</a:t>
            </a:fld>
            <a:endParaRPr kumimoji="1" lang="zh-CN" altLang="en-US" sz="14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CBAAF0E-0F45-E05B-2D2E-84D5C5640C4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09538" y="38496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16A7886-F7D6-4AF9-BA89-947315674FBA}" type="datetime'''''''''''''''5'''''''',''''''5''''''''''''''''''''''''''0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,500</a:t>
            </a:fld>
            <a:endParaRPr kumimoji="1" lang="zh-CN" altLang="en-US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EEF560-073C-22CD-8251-CCE4193029F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09538" y="42370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A6BFC9C-FB19-42D1-8D5E-D12C74F8D220}" type="datetime'''''''''''''''''''''''''''''''''''5'',''0''''''''''''0''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,000</a:t>
            </a:fld>
            <a:endParaRPr kumimoji="1" lang="zh-CN" altLang="en-US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C0DB9B8-30B5-5E39-D1BA-88FFC07F05C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9538" y="46243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402FDC8-F243-4E22-88FE-5B01D8AE4180}" type="datetime'''4'''''''''',''''''''''''''''''5''''''''''''''''''0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,500</a:t>
            </a:fld>
            <a:endParaRPr kumimoji="1" lang="zh-CN" altLang="en-US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A002A6C-487E-2C4E-86D8-C18742E170D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09538" y="50117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75C0E10-5B30-4C51-A789-53A087F49EE6}" type="datetime'''''''''''''''''4'',0''''''''00''''''''''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,000</a:t>
            </a:fld>
            <a:endParaRPr kumimoji="1" lang="zh-CN" altLang="en-US" sz="14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2B7A32E-3B11-6479-4C0A-3261EBCB5E9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09538" y="53990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893E576-3C55-4546-9CC7-276C04321192}" type="datetime'''''3'''',''''''''''''''''''''''''5''0''''''0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,500</a:t>
            </a:fld>
            <a:endParaRPr kumimoji="1" lang="zh-CN" altLang="en-US" sz="1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820291F-1006-F426-DFFD-F1D1C765751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09538" y="57864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1BF77D7-A12E-4A02-9DED-516705D70844}" type="datetime'3'''',''''''''''''0''''''''''''''0''''''''''''''''0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,000</a:t>
            </a:fld>
            <a:endParaRPr kumimoji="1" lang="zh-CN" alt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0EF486-8C11-4FDC-39DC-44D071B707E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09538" y="61737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83222D4-BB1D-48AD-9470-461CACE98B7F}" type="datetime'''''''''''''''''''2'',''5''''''''''''''0''''''0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500</a:t>
            </a:fld>
            <a:endParaRPr kumimoji="1" lang="zh-CN" alt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1A6EAC4-00BB-DD9F-2C27-0F10F437EE67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44475" y="67881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A5703B9-D76F-4A45-9FEB-5E32DC28AD69}" type="datetime'''''''''''''''''''''''50''''''''''''''''0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kumimoji="1" lang="zh-CN" altLang="en-US" sz="1400" dirty="0"/>
          </a:p>
        </p:txBody>
      </p:sp>
      <p:sp useBgFill="1">
        <p:nvSpPr>
          <p:cNvPr id="239" name="任意形状 238">
            <a:extLst>
              <a:ext uri="{FF2B5EF4-FFF2-40B4-BE49-F238E27FC236}">
                <a16:creationId xmlns:a16="http://schemas.microsoft.com/office/drawing/2014/main" id="{68FF5CB9-89D9-A336-0331-64C00D8CA3C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20713" y="6667500"/>
            <a:ext cx="8420101" cy="79376"/>
          </a:xfrm>
          <a:custGeom>
            <a:avLst/>
            <a:gdLst/>
            <a:ahLst/>
            <a:cxnLst/>
            <a:rect l="0" t="0" r="0" b="0"/>
            <a:pathLst>
              <a:path w="84201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7" name="任意形状 236">
            <a:extLst>
              <a:ext uri="{FF2B5EF4-FFF2-40B4-BE49-F238E27FC236}">
                <a16:creationId xmlns:a16="http://schemas.microsoft.com/office/drawing/2014/main" id="{518421B9-0C03-D4D1-631A-E6C9A5C09AD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20713" y="6667500"/>
            <a:ext cx="8420101" cy="22226"/>
          </a:xfrm>
          <a:custGeom>
            <a:avLst/>
            <a:gdLst/>
            <a:ahLst/>
            <a:cxnLst/>
            <a:rect l="0" t="0" r="0" b="0"/>
            <a:pathLst>
              <a:path w="8420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8" name="任意形状 237">
            <a:extLst>
              <a:ext uri="{FF2B5EF4-FFF2-40B4-BE49-F238E27FC236}">
                <a16:creationId xmlns:a16="http://schemas.microsoft.com/office/drawing/2014/main" id="{26B237D2-3F27-A15A-E796-E39ABC186392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20713" y="6724650"/>
            <a:ext cx="8420101" cy="22226"/>
          </a:xfrm>
          <a:custGeom>
            <a:avLst/>
            <a:gdLst/>
            <a:ahLst/>
            <a:cxnLst/>
            <a:rect l="0" t="0" r="0" b="0"/>
            <a:pathLst>
              <a:path w="8420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48" name="直线连接符 247">
            <a:extLst>
              <a:ext uri="{FF2B5EF4-FFF2-40B4-BE49-F238E27FC236}">
                <a16:creationId xmlns:a16="http://schemas.microsoft.com/office/drawing/2014/main" id="{143093CD-0A04-A432-0935-42DC8CC11E6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932863" y="4646613"/>
            <a:ext cx="158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直线连接符 246">
            <a:extLst>
              <a:ext uri="{FF2B5EF4-FFF2-40B4-BE49-F238E27FC236}">
                <a16:creationId xmlns:a16="http://schemas.microsoft.com/office/drawing/2014/main" id="{A0178F37-1E78-E53C-56CB-71B6F699A56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6915150" y="4646613"/>
            <a:ext cx="1617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直线连接符 245">
            <a:extLst>
              <a:ext uri="{FF2B5EF4-FFF2-40B4-BE49-F238E27FC236}">
                <a16:creationId xmlns:a16="http://schemas.microsoft.com/office/drawing/2014/main" id="{C52ACC4B-6025-38E1-9179-66DB637E034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162675" y="4646613"/>
            <a:ext cx="352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线连接符 244">
            <a:extLst>
              <a:ext uri="{FF2B5EF4-FFF2-40B4-BE49-F238E27FC236}">
                <a16:creationId xmlns:a16="http://schemas.microsoft.com/office/drawing/2014/main" id="{1DB11E6E-140A-5304-D65D-D9393FCFA19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410200" y="4646613"/>
            <a:ext cx="352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线连接符 230">
            <a:extLst>
              <a:ext uri="{FF2B5EF4-FFF2-40B4-BE49-F238E27FC236}">
                <a16:creationId xmlns:a16="http://schemas.microsoft.com/office/drawing/2014/main" id="{93846DE9-65C1-4200-D6A1-A7CF6C9619E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564813" y="4646613"/>
            <a:ext cx="136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线连接符 229">
            <a:extLst>
              <a:ext uri="{FF2B5EF4-FFF2-40B4-BE49-F238E27FC236}">
                <a16:creationId xmlns:a16="http://schemas.microsoft.com/office/drawing/2014/main" id="{3283AA95-8A83-9A48-D384-D3E60AFD503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656138" y="4646613"/>
            <a:ext cx="3540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线连接符 228">
            <a:extLst>
              <a:ext uri="{FF2B5EF4-FFF2-40B4-BE49-F238E27FC236}">
                <a16:creationId xmlns:a16="http://schemas.microsoft.com/office/drawing/2014/main" id="{6BE86571-DC29-85A7-7608-426DA69DDE2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903663" y="4646613"/>
            <a:ext cx="352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线连接符 227">
            <a:extLst>
              <a:ext uri="{FF2B5EF4-FFF2-40B4-BE49-F238E27FC236}">
                <a16:creationId xmlns:a16="http://schemas.microsoft.com/office/drawing/2014/main" id="{96561713-1DA4-5FC3-9FDD-E65F6BE7A4F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2341562" y="4646613"/>
            <a:ext cx="1162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线连接符 226">
            <a:extLst>
              <a:ext uri="{FF2B5EF4-FFF2-40B4-BE49-F238E27FC236}">
                <a16:creationId xmlns:a16="http://schemas.microsoft.com/office/drawing/2014/main" id="{4E1F2173-4C7A-D9BB-6CFF-BE54F4D1633F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1587500" y="4646613"/>
            <a:ext cx="4699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直线连接符 224">
            <a:extLst>
              <a:ext uri="{FF2B5EF4-FFF2-40B4-BE49-F238E27FC236}">
                <a16:creationId xmlns:a16="http://schemas.microsoft.com/office/drawing/2014/main" id="{21638D6F-73F5-5C5E-C16B-4BDAC03314F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974138" y="5522913"/>
            <a:ext cx="17272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直线连接符 174">
            <a:extLst>
              <a:ext uri="{FF2B5EF4-FFF2-40B4-BE49-F238E27FC236}">
                <a16:creationId xmlns:a16="http://schemas.microsoft.com/office/drawing/2014/main" id="{F13D622A-7433-7B58-1FFE-943038CE7C64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10658475" y="4643438"/>
            <a:ext cx="0" cy="8826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线连接符 132">
            <a:extLst>
              <a:ext uri="{FF2B5EF4-FFF2-40B4-BE49-F238E27FC236}">
                <a16:creationId xmlns:a16="http://schemas.microsoft.com/office/drawing/2014/main" id="{6395DB9C-78D3-4FD5-ED58-179557B8469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692150" y="4646613"/>
            <a:ext cx="611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5C343D48-C260-6989-2D54-4324AB91C95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768350" y="3092450"/>
            <a:ext cx="0" cy="1052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线连接符 122">
            <a:extLst>
              <a:ext uri="{FF2B5EF4-FFF2-40B4-BE49-F238E27FC236}">
                <a16:creationId xmlns:a16="http://schemas.microsoft.com/office/drawing/2014/main" id="{758DC6D4-0DB3-8510-AB61-BA19DD413FFD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974138" y="3092450"/>
            <a:ext cx="0" cy="4619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直线连接符 116">
            <a:extLst>
              <a:ext uri="{FF2B5EF4-FFF2-40B4-BE49-F238E27FC236}">
                <a16:creationId xmlns:a16="http://schemas.microsoft.com/office/drawing/2014/main" id="{EEDBAD21-9330-37EB-F3DF-8FE862B2EECA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68349" y="3092450"/>
            <a:ext cx="8205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262E937B-422E-2F64-5FD0-C3B73BF1C561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auto">
          <a:xfrm>
            <a:off x="3703638" y="3657600"/>
            <a:ext cx="0" cy="3746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E95F6078-7073-9E72-B035-7B8A8F37B392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auto">
          <a:xfrm>
            <a:off x="8199438" y="4367213"/>
            <a:ext cx="22225" cy="541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B56FCFCA-2706-FEDE-9002-C77C9EFFB614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auto">
          <a:xfrm>
            <a:off x="7462838" y="3400425"/>
            <a:ext cx="4763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89E47364-00F8-3A68-2BB3-0D57C3CD9341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H="1">
            <a:off x="736600" y="4000500"/>
            <a:ext cx="104775" cy="547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8619FF31-D811-51A9-2A3C-E59DC908C94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H="1">
            <a:off x="6715125" y="3360738"/>
            <a:ext cx="3175" cy="488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2347652D-EBA4-A5EA-07C6-2365B5AA0C46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H="1">
            <a:off x="1444625" y="3822700"/>
            <a:ext cx="60325" cy="579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D2B139DB-9457-5024-E4C0-A8C24FB93FE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H="1">
            <a:off x="5962650" y="3402013"/>
            <a:ext cx="9525" cy="500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402732F2-AC98-D0A5-2CEC-C86EDD99E0F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H="1">
            <a:off x="2198688" y="3779838"/>
            <a:ext cx="28575" cy="476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27BC4F5E-8622-F78E-BE39-2E211EB2C303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auto">
          <a:xfrm>
            <a:off x="5194300" y="3511550"/>
            <a:ext cx="15875" cy="539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8197FB70-7C51-62C2-87A2-328994A4D584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auto">
          <a:xfrm flipH="1">
            <a:off x="2951163" y="3713163"/>
            <a:ext cx="9525" cy="400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865176A8-50C5-AB07-6666-422EAE1B476B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auto">
          <a:xfrm>
            <a:off x="4456113" y="3594100"/>
            <a:ext cx="0" cy="442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F8615B11-A619-369D-BAD4-C7BCA7066DD4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56848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31D5E3CC-09BC-A7CF-6B52-E068AE42FD7D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6518275" y="62372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8099E52-E7B7-44D7-9C1C-C0BCAD2058AF}" type="datetime'''''''''''''''''''''''''3,''''''''''''''''''6''''5''''0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,65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BE0A5745-6BD8-A3E3-302D-7ED11E7AF384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3475038" y="34655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A6C570-3513-40F2-8583-2B6C0168065F}" type="datetime'''''''''''''5'''',''3''''''''''5''''''''''''''2'''''''''''''''">
              <a:rPr kumimoji="1" lang="zh-CN" altLang="en-US" sz="1400" smtClean="0"/>
              <a:pPr/>
              <a:t>5,352</a:t>
            </a:fld>
            <a:endParaRPr kumimoji="1" lang="zh-CN" altLang="en-US" sz="1400" dirty="0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F1597C2E-0B7B-6395-C84D-683398865B81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4962525" y="33194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7536B9-65F8-4280-9C92-5E4653D6FF23}" type="datetime'''''5,''''''''''''''3''''''''''''''''''''''2''''8'''''''''''">
              <a:rPr kumimoji="1" lang="zh-CN" altLang="en-US" sz="1400" smtClean="0"/>
              <a:pPr/>
              <a:t>5,3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5639E4F-D950-B4B8-9B84-DD60EBA5EB50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2735263" y="35210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2BEC66-07C5-4C93-A5F4-D159409C996E}" type="datetime'''5'''''',''''''''''''''''''''''2''''''''''''''47'''">
              <a:rPr kumimoji="1" lang="zh-CN" altLang="en-US" sz="1400" smtClean="0"/>
              <a:pPr/>
              <a:t>5,247</a:t>
            </a:fld>
            <a:endParaRPr kumimoji="1" lang="zh-CN" altLang="en-US" sz="1400" dirty="0"/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9E4559A2-9BFB-3C40-101E-5B3593FC0F6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5745163" y="32099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A72FC5-0881-4485-A567-FC6A3B0701CE}" type="datetime'5'',''5''''1''''''''''''''''''9'''''''''">
              <a:rPr kumimoji="1" lang="zh-CN" altLang="en-US" sz="1400" smtClean="0"/>
              <a:pPr/>
              <a:t>5,51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14933B36-4583-5AF6-091A-AC353185CE31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2005013" y="35877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4B253A-E868-4B61-942F-70C5CB856E34}" type="datetime'5'''''''''',0''''6''''''''''''''''''3'''''''''''''''''''''''">
              <a:rPr kumimoji="1" lang="zh-CN" altLang="en-US" sz="1400" smtClean="0"/>
              <a:pPr/>
              <a:t>5,063</a:t>
            </a:fld>
            <a:endParaRPr kumimoji="1" lang="zh-CN" altLang="en-US" sz="1400" dirty="0"/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32AE4CC6-686A-9399-82BE-B728A143477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489700" y="31686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3CCF09-702B-4A30-B306-AF3D1EBE6EAA}" type="datetime'''''''5,''''''''''''''''''''''''''''58''''''''''8'''''''''''''">
              <a:rPr kumimoji="1" lang="zh-CN" altLang="en-US" sz="1400" smtClean="0"/>
              <a:pPr/>
              <a:t>5,58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E5A0C258-7FFB-FE90-7514-7192CA7E1E5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285875" y="36306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D3621-ACBE-4797-87F2-C8CE25CD2387}" type="datetime'''''''4'''''''''''''''''',''''''''''''''''8''75'''">
              <a:rPr kumimoji="1" lang="zh-CN" altLang="en-US" sz="1400" smtClean="0"/>
              <a:pPr/>
              <a:t>4,875</a:t>
            </a:fld>
            <a:endParaRPr kumimoji="1" lang="zh-CN" altLang="en-US" sz="1400" dirty="0"/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89220D4B-6095-7EC7-0076-1882D5A32546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232650" y="3208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D893BF-F797-4C66-8AB7-2F98C0C33B1C}" type="datetime'''''''''''''5,5''''''''''''1''''''''''''''''''''''''''''''''0'">
              <a:rPr kumimoji="1" lang="zh-CN" altLang="en-US" sz="1400" smtClean="0"/>
              <a:pPr/>
              <a:t>5,51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7" name="文本占位符 2">
            <a:extLst>
              <a:ext uri="{FF2B5EF4-FFF2-40B4-BE49-F238E27FC236}">
                <a16:creationId xmlns:a16="http://schemas.microsoft.com/office/drawing/2014/main" id="{447A65C5-F548-59C1-7442-43073049DB35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631825" y="38084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0AE2DD-6199-43E8-8506-A9832BF304BC}" type="datetime'4,''6''''''''''''''''''''''''''''''8''''''''''5'''">
              <a:rPr kumimoji="1" lang="zh-CN" altLang="en-US" sz="1400" smtClean="0"/>
              <a:pPr/>
              <a:t>4,685</a:t>
            </a:fld>
            <a:endParaRPr kumimoji="1" lang="zh-CN" altLang="en-US" sz="1400" dirty="0"/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3A044170-E7CB-3293-A1A6-8B241D99961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967663" y="41751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DB1982-16D8-4486-820A-DF43D7759AB7}" type="datetime'''''''''''4'''',2''''''''''''2''''''''''''''''''''''''''0'''">
              <a:rPr kumimoji="1" lang="zh-CN" altLang="en-US" sz="1400" smtClean="0"/>
              <a:pPr/>
              <a:t>4,22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471085E3-25E8-B05E-0B72-51446406F244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9117013" y="62992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EAD0BD3D-561D-319A-E03E-8AF9BCDBEA4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745538" y="35925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7DF87D-7FBD-404A-B30C-D793247C9695}" type="datetime'5'''''''''''''',6''''7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036836-87D1-CCD5-4AF0-258E25FAD585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5824538" y="388778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D078D1-4174-4132-9B63-25ABAE2CAF05}" type="datetime'''''''''''''''''''''1''''''''''''''''''1''''9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1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9982AEF3-477E-C3E9-75D9-C3C71C84B30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493236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56BFC25-C880-B7AE-30F2-A7CF1540869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5013325" y="61610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96B33E-A45D-4A2C-B088-48F04D1ACED4}" type="datetime'''''''3'',''''''''''''8''''4''''''''''''''''7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,84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B6B30A7-4413-6720-EFE0-5F7F9B473468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5110163" y="401478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BB2E268-010F-4D82-B2AB-565D13C382FA}" type="datetime'''''''''''''''''6''''''''''''''''''''''5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5B3B29AA-4553-AFF9-9249-99A49B4F3F4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417830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F3457BE-92E2-B59D-A9BA-28AAD5794E7F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4259263" y="61150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46200C-7820-44AF-BD6B-5E9F61F345ED}" type="datetime'''''3'',''9''''''''''''''''''''''64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,96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A6F5D1F-8666-55E6-E598-D1FBC8C20780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4318000" y="40163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0C59949-E8A5-4012-8614-8C9C60603D53}" type="datetime'''''''''''''''''''''''''''''''''1''0''''''''''''''1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88E8A556-D277-13DE-FCED-5536DAFA8C9C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34258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2521427-8DCB-8144-01DD-A62B1A72BFF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3506788" y="604837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FCBD9A-18AD-4CF1-8C49-36D21AA0202E}" type="datetime'''''''''''''''4'''''''''''''''',''''''''''''''''13''''8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,13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90A55A-0FC9-453D-7868-36B0BD832159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3565525" y="401161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99AB85-0404-4DE0-B386-9E1C5B454018}" type="datetime'''''1''''0''''''''''''''''''''''''''''''5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8999E742-E217-47F7-D67E-271E4BA8102A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2673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D4AE49-01B9-59CB-1971-771EB78CDB52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754313" y="59959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44B28F-85A1-4CED-82B9-E370A1163A6C}" type="datetime'4'''''''''',''''''2''7''''2''''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,27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CCAB1E-3D90-8C6C-96DA-B7753864F11E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851150" y="4090988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234B2FD-564C-4FA2-848E-91DE28847713}" type="datetime'''''''''''''''''''''''''''''''''''9''''''8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C807E81D-E4D7-87F5-1C39-67EF3BE8B0F5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192087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8DB4047-5AD7-6DD0-F329-F8C4671378EF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001838" y="595947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03C3BEA-1671-47C4-ADAC-D903D9C3F91D}" type="datetime'''4,3''''''''''''''''''''''6''''''''''9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,36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7FBB534-D51F-DED0-9116-96CA27DAED0D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2060575" y="42386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996160D-0427-4F88-9F2B-4245BD0B0206}" type="datetime'''''''''1''''''''''''''''1''''''''''''''''''''''''''0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1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9FD3A063-3508-41DA-FA3B-BA9B6285BF18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16681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4B3016D-BAFB-61D7-7FB9-152BFD544A0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247775" y="59150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777806-7CD6-4171-9D54-7318F1F30798}" type="datetime'''4'''',''''''4''''''8''''''2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,48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EFEE6A9D-A8B3-98BE-B01D-A07DA3234E5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4227513" y="34020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61751A-CC17-4FE9-9845-54241D7B10FE}" type="datetime'''''''''''''''''''5'',''''34''''5'''''''''''">
              <a:rPr kumimoji="1" lang="zh-CN" altLang="en-US" sz="1400" smtClean="0"/>
              <a:pPr/>
              <a:t>5,345</a:t>
            </a:fld>
            <a:endParaRPr kumimoji="1" lang="zh-CN" altLang="en-US" sz="1400" dirty="0"/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082D2619-6F2C-76B2-9466-BE68EB0F8244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9117013" y="4610100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30F90357-CA66-DD01-E41B-C59BCB8AE5F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9117013" y="37528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C72797A1-6A2B-BD23-3079-5177417D9B26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86963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C2AB4AB8-5A4C-6161-3205-5D9D137715B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6615113" y="382746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A190121-17D8-4BA1-BAFC-DEED81F8AC11}" type="datetime'''''''''''''''''''''''''''9''8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A538792-AF1B-4DD0-EDEB-0E77FE762698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8535988" y="631190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919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109F521-F7F6-495F-8A13-1ED7FDA5CCEC}" type="datetime'3'''''''''''''''''',''4''''''''''''''58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,45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8FCA97A3-5CA8-66BE-823B-ABFE5C631ED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8651875" y="3765550"/>
            <a:ext cx="27781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E3583C-979B-4436-9268-56EDA56E9A57}" type="datetime'''''''''''''''''''''1''''''''''0''''''7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03483D14-2CF9-3404-D399-B128B107B102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79438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5B300F2-62FA-726B-C6B3-10CBFA8F4955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8024813" y="6624638"/>
            <a:ext cx="393700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7EEEA2-E8B9-4CC9-895B-AFD5EFF0038B}" type="datetime'''2'''''''''''''''',6''''''''''''5''''''''''''''''''3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,65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21B4D5F4-EF63-E690-0A9E-388C5E7F59FF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8121650" y="485616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0C67FE-0075-4667-AE99-74BD3A1F06F8}" type="datetime'''''''''''''''''''''''''''''''''1''9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9FD6BDAB-D5AB-362B-150B-92DB048030D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71897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0437592-328D-907A-7C17-1375DADF16D0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7270750" y="630237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A8E2B50-429D-4464-B7EC-05F6207F0216}" type="datetime'''''''3'''''''''''',''''''4''''''''''''''''''8''''''2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,48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311BD7C-2953-99FF-D19C-853F2BF53E0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7367588" y="3876675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E79721-6F5A-4443-8A7B-28F1763151AA}" type="datetime'''''''''''7''''''''''''''''''''''''''''''''''''''''2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FA7226D-9A20-AE11-BC5F-D1A7E39273AA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344613" y="437991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EAFD348-4711-4037-940A-273B120D0AA1}" type="datetime'''9''''''''''''''''''''''''''''''''''''''9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7136C548-3D70-90F4-63D8-5A0E48779E4C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41433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1B9976A-A0AF-B31F-BE74-367AB8A9CE6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736600" y="58737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8CCE28-71D8-46F2-B8B0-B9DA35D59719}" type="datetime'''''''''''''4'''''',5''''''''''8''''''''8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,588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3E9024-343B-9344-6980-78A5325F78B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736600" y="4525963"/>
            <a:ext cx="20002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F436B1-D7D1-461C-86CF-4211F6FCB125}" type="datetime'''''''''''''''''''''9''''''7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7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4B64E2C1-89AA-41F3-1561-3651C1F6E32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643731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7B86459-FC75-43C6-2961-4C055DA3C8E3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5765800" y="61960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4244557-927D-4DE0-B64E-03F66CB53A72}" type="datetime'3,''''''''''''''7''''5''''''''''''''''''''6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,75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DEBD0E81-F2AD-01E7-EB88-0ED8277B37F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0399713" y="4905375"/>
            <a:ext cx="517525" cy="273050"/>
          </a:xfrm>
          <a:prstGeom prst="ellipse">
            <a:avLst/>
          </a:prstGeom>
          <a:solidFill>
            <a:srgbClr val="E9163C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2D20CE0-34AD-4A72-8522-A0EC6D1ACBFD}" type="datetime'''''-''''''''''''''''''''''''''''2''''''5''''''''''''''%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-25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908BD9D5-7734-16EB-2A27-DA6D40CD1CFB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4587875" y="2955925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3DF0A62-8A19-4F60-BF44-A80C011F80D4}" type="datetime'''''''''''''''''''+''''''2''''''''''''''1%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21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8DFCE3EC-69AC-B5E2-583E-A7F7F40CFACB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疗行业在投门店量（店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AC144027-B9C8-0929-5CB4-C69B5675F5AC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112" name="Chart 3">
            <a:extLst>
              <a:ext uri="{FF2B5EF4-FFF2-40B4-BE49-F238E27FC236}">
                <a16:creationId xmlns:a16="http://schemas.microsoft.com/office/drawing/2014/main" id="{18193238-ADEB-3A91-F5D5-33851AFB3702}"/>
              </a:ext>
            </a:extLst>
          </p:cNvPr>
          <p:cNvGraphicFramePr/>
          <p:nvPr>
            <p:custDataLst>
              <p:tags r:id="rId105"/>
            </p:custDataLst>
            <p:extLst>
              <p:ext uri="{D42A27DB-BD31-4B8C-83A1-F6EECF244321}">
                <p14:modId xmlns:p14="http://schemas.microsoft.com/office/powerpoint/2010/main" val="4133686578"/>
              </p:ext>
            </p:extLst>
          </p:nvPr>
        </p:nvGraphicFramePr>
        <p:xfrm>
          <a:off x="11601450" y="3278188"/>
          <a:ext cx="86995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1"/>
          </a:graphicData>
        </a:graphic>
      </p:graphicFrame>
      <p:cxnSp>
        <p:nvCxnSpPr>
          <p:cNvPr id="163" name="直线连接符 162">
            <a:extLst>
              <a:ext uri="{FF2B5EF4-FFF2-40B4-BE49-F238E27FC236}">
                <a16:creationId xmlns:a16="http://schemas.microsoft.com/office/drawing/2014/main" id="{668D5D43-0E14-691C-9F10-DBE6644045F9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11625263" y="47513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直线连接符 156">
            <a:extLst>
              <a:ext uri="{FF2B5EF4-FFF2-40B4-BE49-F238E27FC236}">
                <a16:creationId xmlns:a16="http://schemas.microsoft.com/office/drawing/2014/main" id="{F326372B-DAE1-65DA-D59C-744EC626F83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11625263" y="7259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直线连接符 100">
            <a:extLst>
              <a:ext uri="{FF2B5EF4-FFF2-40B4-BE49-F238E27FC236}">
                <a16:creationId xmlns:a16="http://schemas.microsoft.com/office/drawing/2014/main" id="{C5E430EA-9998-5CC2-5912-EDD3799E168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11625263" y="66548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直线连接符 183">
            <a:extLst>
              <a:ext uri="{FF2B5EF4-FFF2-40B4-BE49-F238E27FC236}">
                <a16:creationId xmlns:a16="http://schemas.microsoft.com/office/drawing/2014/main" id="{943B4B9B-F1CE-1BD9-7FDB-F8D3B61B20CB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>
            <a:off x="11625263" y="69564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直线连接符 208">
            <a:extLst>
              <a:ext uri="{FF2B5EF4-FFF2-40B4-BE49-F238E27FC236}">
                <a16:creationId xmlns:a16="http://schemas.microsoft.com/office/drawing/2014/main" id="{FFEDA995-7509-C4F2-A300-1BB5B8EEF50F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>
            <a:off x="11625263" y="62611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直线连接符 167">
            <a:extLst>
              <a:ext uri="{FF2B5EF4-FFF2-40B4-BE49-F238E27FC236}">
                <a16:creationId xmlns:a16="http://schemas.microsoft.com/office/drawing/2014/main" id="{55D46199-3C7D-0367-890B-A41BA4894F34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>
            <a:off x="11625263" y="35448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直线连接符 184">
            <a:extLst>
              <a:ext uri="{FF2B5EF4-FFF2-40B4-BE49-F238E27FC236}">
                <a16:creationId xmlns:a16="http://schemas.microsoft.com/office/drawing/2014/main" id="{CA8BA38C-0B15-0822-02D0-246C4E0DF01E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>
            <a:off x="11625263" y="59594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直线连接符 166">
            <a:extLst>
              <a:ext uri="{FF2B5EF4-FFF2-40B4-BE49-F238E27FC236}">
                <a16:creationId xmlns:a16="http://schemas.microsoft.com/office/drawing/2014/main" id="{CCB06ED1-B5F7-92C5-F011-CF4F4F6FC138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auto">
          <a:xfrm>
            <a:off x="11625263" y="3846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直线连接符 158">
            <a:extLst>
              <a:ext uri="{FF2B5EF4-FFF2-40B4-BE49-F238E27FC236}">
                <a16:creationId xmlns:a16="http://schemas.microsoft.com/office/drawing/2014/main" id="{DD96F643-9648-7EA2-8C20-600BD473F1A5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>
            <a:off x="11625263" y="56578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直线连接符 164">
            <a:extLst>
              <a:ext uri="{FF2B5EF4-FFF2-40B4-BE49-F238E27FC236}">
                <a16:creationId xmlns:a16="http://schemas.microsoft.com/office/drawing/2014/main" id="{8A7029DB-242A-D9F4-DAE4-CF67E0A876B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auto">
          <a:xfrm>
            <a:off x="11625263" y="41481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直线连接符 159">
            <a:extLst>
              <a:ext uri="{FF2B5EF4-FFF2-40B4-BE49-F238E27FC236}">
                <a16:creationId xmlns:a16="http://schemas.microsoft.com/office/drawing/2014/main" id="{975CC975-6DC5-B21F-2406-EABE9D1BAA67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auto">
          <a:xfrm>
            <a:off x="11625263" y="53546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625D871D-ECE5-2E9B-A6A7-C5E28E1E3FB5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auto">
          <a:xfrm>
            <a:off x="11625263" y="44497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直线连接符 160">
            <a:extLst>
              <a:ext uri="{FF2B5EF4-FFF2-40B4-BE49-F238E27FC236}">
                <a16:creationId xmlns:a16="http://schemas.microsoft.com/office/drawing/2014/main" id="{32A73AC9-5B6C-EB5E-F5C5-BBD9DAC93B19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auto">
          <a:xfrm>
            <a:off x="11625263" y="50530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2EF826E4-657C-75F4-8D0B-DBDFA15AC6B6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11155363" y="7169150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CE1603-C1F7-4D15-AAC6-82404DD8012F}" type="datetime'0.0''''''''''''''''''''''''''''''''''''%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%</a:t>
            </a:fld>
            <a:endParaRPr kumimoji="1" lang="zh-CN" altLang="en-US" sz="1400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6DF15312-3F34-A6EB-0FFE-3B8F90FAD81A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11064875" y="61706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AB664AB-678A-44DD-9868-C5513C66EDAD}" type="datetime'''5''5''.''''''''''''''''''''''''''''''''''0''''''''''''''%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5.0%</a:t>
            </a:fld>
            <a:endParaRPr kumimoji="1" lang="zh-CN" altLang="en-US" sz="1400" dirty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07B7C84C-283D-14CB-B172-C4478F993F21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11064875" y="4359275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8A3C7C9-6553-4128-9411-AC4E248AA015}" type="datetime'''''8''''''''''''''5''''''''''.''''''''0''''%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5.0%</a:t>
            </a:fld>
            <a:endParaRPr kumimoji="1" lang="zh-CN" altLang="en-US" sz="1400" dirty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199541E1-202C-5266-F59B-95334BF94D67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11064875" y="4962525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966919F-3353-448A-A0F4-38AAFDFE9E1A}" type="datetime'''''''''''''''''''''''''''''''''''''''''''''''7''5''.0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5.0%</a:t>
            </a:fld>
            <a:endParaRPr kumimoji="1" lang="zh-CN" altLang="en-US" sz="1400" dirty="0"/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033FB86F-454C-E720-BC0D-59FF28173CE0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11064875" y="405765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E6BFEF6-3AD4-4D74-87B7-2284F7443499}" type="datetime'9''''''''''0''''''''''.0''''''%''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.0%</a:t>
            </a:fld>
            <a:endParaRPr kumimoji="1" lang="zh-CN" altLang="en-US" sz="1400" dirty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45DC3C9F-B031-B6CA-0806-5E155122452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11064875" y="526415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73C92EF-0B08-427B-830F-0B1641C95893}" type="datetime'''7''''0''''''''.''''''''''''0''''''''''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.0%</a:t>
            </a:fld>
            <a:endParaRPr kumimoji="1" lang="zh-CN" altLang="en-US" sz="140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80BD0A5A-BEC5-6A73-9BF5-784F43217705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11064875" y="3756025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B2A0346-97EE-424F-A1F7-EB867C1B001B}" type="datetime'''''''''9''''''''''5''''''''''''''''''.''''''''''''''0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5.0%</a:t>
            </a:fld>
            <a:endParaRPr kumimoji="1" lang="zh-CN" altLang="en-US" sz="140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EBF3DE60-7AAE-584A-5666-E985B773EF6B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gray">
          <a:xfrm>
            <a:off x="11064875" y="556736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E016D4D-1EDC-41D4-A882-139C6CB3289D}" type="datetime'''6''''''''''''5''''''''''''''''''''''.''''''0''''''''''%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5.0%</a:t>
            </a:fld>
            <a:endParaRPr kumimoji="1" lang="zh-CN" altLang="en-US" sz="1400" dirty="0"/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E59B08D3-145C-A75D-EC37-60083CB682CE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10974388" y="3454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E8B2582-A5FE-46AE-BCB5-862AEA75FFB0}" type="datetime'''''''''''''''''''''1''0''''''''0''''''.''''0''%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.0%</a:t>
            </a:fld>
            <a:endParaRPr kumimoji="1" lang="zh-CN" altLang="en-US" sz="1400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009D565E-7510-EEAC-A176-CFEACBBB2028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11064875" y="5868988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3072C42-F927-44CB-B402-83AC75EE4CAB}" type="datetime'''''''''''''''''6''0''''''.''''0''''''%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.0%</a:t>
            </a:fld>
            <a:endParaRPr kumimoji="1" lang="zh-CN" altLang="en-US" sz="1400" dirty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CEB2AEFE-EB18-D863-FDC6-B07A352A4061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11155363" y="6865938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7F8EED6-93DC-4551-956B-C6299802E0FC}" type="datetime'5''''''''.0''''''''''''''''''''''''''''''''''%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.0%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65F5F162-0DF6-8B7F-685F-63DE05D3E1A2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11064875" y="6564313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1874337-9554-402B-A399-ABC888C1F583}" type="datetime'''''''1''''''''0.''''''0''''''''''''''%''''''''''''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.0%</a:t>
            </a:fld>
            <a:endParaRPr kumimoji="1" lang="zh-CN" altLang="en-US" sz="1400" dirty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D4C6FD77-E7E8-1D07-F1FC-20240865F941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11064875" y="4660900"/>
            <a:ext cx="442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B1DEC5A-BDE0-49EC-95AC-8C763887BE24}" type="datetime'''''''''''''''''''''8''''''''''''''0''''.0''''''''''%'''">
              <a:rPr kumimoji="1" lang="zh-CN" altLang="en-US" sz="14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.0%</a:t>
            </a:fld>
            <a:endParaRPr kumimoji="1" lang="zh-CN" altLang="en-US" sz="1400" dirty="0"/>
          </a:p>
        </p:txBody>
      </p:sp>
      <p:sp useBgFill="1">
        <p:nvSpPr>
          <p:cNvPr id="111" name="任意形状 110">
            <a:extLst>
              <a:ext uri="{FF2B5EF4-FFF2-40B4-BE49-F238E27FC236}">
                <a16:creationId xmlns:a16="http://schemas.microsoft.com/office/drawing/2014/main" id="{1489123C-C8CE-8854-EA61-CC3DC05E112A}"/>
              </a:ext>
            </a:extLst>
          </p:cNvPr>
          <p:cNvSpPr/>
          <p:nvPr>
            <p:custDataLst>
              <p:tags r:id="rId132"/>
            </p:custDataLst>
          </p:nvPr>
        </p:nvSpPr>
        <p:spPr bwMode="auto">
          <a:xfrm>
            <a:off x="11614150" y="6540500"/>
            <a:ext cx="8667751" cy="79376"/>
          </a:xfrm>
          <a:custGeom>
            <a:avLst/>
            <a:gdLst/>
            <a:ahLst/>
            <a:cxnLst/>
            <a:rect l="0" t="0" r="0" b="0"/>
            <a:pathLst>
              <a:path w="8667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  <a:lnTo>
                  <a:pt x="8667750" y="57150"/>
                </a:lnTo>
                <a:lnTo>
                  <a:pt x="8585200" y="79375"/>
                </a:lnTo>
                <a:lnTo>
                  <a:pt x="8502650" y="57150"/>
                </a:lnTo>
                <a:lnTo>
                  <a:pt x="8420100" y="79375"/>
                </a:lnTo>
                <a:lnTo>
                  <a:pt x="8337550" y="57150"/>
                </a:lnTo>
                <a:lnTo>
                  <a:pt x="8255000" y="79375"/>
                </a:lnTo>
                <a:lnTo>
                  <a:pt x="8172450" y="57150"/>
                </a:lnTo>
                <a:lnTo>
                  <a:pt x="8089900" y="79375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0" name="任意形状 109">
            <a:extLst>
              <a:ext uri="{FF2B5EF4-FFF2-40B4-BE49-F238E27FC236}">
                <a16:creationId xmlns:a16="http://schemas.microsoft.com/office/drawing/2014/main" id="{6E8BFEDE-2F58-FFB9-61BB-4CA657C30AD4}"/>
              </a:ext>
            </a:extLst>
          </p:cNvPr>
          <p:cNvSpPr/>
          <p:nvPr>
            <p:custDataLst>
              <p:tags r:id="rId133"/>
            </p:custDataLst>
          </p:nvPr>
        </p:nvSpPr>
        <p:spPr bwMode="auto">
          <a:xfrm>
            <a:off x="11614150" y="6597650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8" name="任意形状 107">
            <a:extLst>
              <a:ext uri="{FF2B5EF4-FFF2-40B4-BE49-F238E27FC236}">
                <a16:creationId xmlns:a16="http://schemas.microsoft.com/office/drawing/2014/main" id="{0D20088E-9AF4-79D1-7D84-153825E8625E}"/>
              </a:ext>
            </a:extLst>
          </p:cNvPr>
          <p:cNvSpPr/>
          <p:nvPr>
            <p:custDataLst>
              <p:tags r:id="rId134"/>
            </p:custDataLst>
          </p:nvPr>
        </p:nvSpPr>
        <p:spPr bwMode="auto">
          <a:xfrm>
            <a:off x="11614150" y="6540500"/>
            <a:ext cx="8667751" cy="22226"/>
          </a:xfrm>
          <a:custGeom>
            <a:avLst/>
            <a:gdLst/>
            <a:ahLst/>
            <a:cxnLst/>
            <a:rect l="0" t="0" r="0" b="0"/>
            <a:pathLst>
              <a:path w="8667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89900" y="22225"/>
                </a:lnTo>
                <a:lnTo>
                  <a:pt x="8172450" y="0"/>
                </a:lnTo>
                <a:lnTo>
                  <a:pt x="8255000" y="22225"/>
                </a:lnTo>
                <a:lnTo>
                  <a:pt x="8337550" y="0"/>
                </a:lnTo>
                <a:lnTo>
                  <a:pt x="8420100" y="22225"/>
                </a:lnTo>
                <a:lnTo>
                  <a:pt x="8502650" y="0"/>
                </a:lnTo>
                <a:lnTo>
                  <a:pt x="8585200" y="22225"/>
                </a:lnTo>
                <a:lnTo>
                  <a:pt x="8667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7E234BBB-D5A4-EEA5-A2DC-E7665B135DA7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gray">
          <a:xfrm>
            <a:off x="17775238" y="35147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160180-AFE0-4226-AC04-FB7A8B3C5ACA}" type="datetime'''''''''''''''''''2''''''%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ACDB5BAF-6982-3F92-518E-F1AFAA71683E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gray">
          <a:xfrm>
            <a:off x="15409863" y="60991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F0B820-0D2B-4973-814D-62A556F98E54}" type="datetime'''''''7''''4''''''''''''''''''''''''''''''%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4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C13A85A5-3C32-1E48-CDD1-D0A85453ED52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35459DB-7E84-7207-8F39-F5432E7FFDB8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gray">
          <a:xfrm>
            <a:off x="13895388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0CA4573-EFED-45CA-8D1D-06BD03624B6C}" type="datetime'''''''''''''''''''''''''2''''''''%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95AC8EFA-9128-A234-56BE-4F5BD1DE97ED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gray">
          <a:xfrm>
            <a:off x="13857288" y="588010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E4C30D-054C-4F22-8611-0FFCD9139AC2}" type="datetime'''''''''''''8''''''''''''''1''''''''''''%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C0B4B772-1F55-6406-9AAE-9B68699A6F5E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9284D51-6548-3DB5-1532-275A7EB587C4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gray">
          <a:xfrm>
            <a:off x="14671675" y="352107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41B4E07-A085-46A9-A7A8-1A2AB4FAE9D8}" type="datetime'2''''''''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C4F25F75-159D-473A-28EE-316E0BEC1128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gray">
          <a:xfrm>
            <a:off x="14633575" y="60039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D6852E0-D4B8-45A6-B590-F02B509C2BC9}" type="datetime'''7''''''''''''''''''''7''''''''''%''''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7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0BD4B54F-913D-0587-1304-4DE50345874D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C1A7D92-5D67-4B13-AADE-D52DE69C01AF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gray">
          <a:xfrm>
            <a:off x="15447963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323FB70-94F9-46A1-AE6C-D6D0E5C97FD5}" type="datetime'''''''2''''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E39A05-C7CD-50D5-3D70-BD4A044AD864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gray">
          <a:xfrm>
            <a:off x="13119100" y="35274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A9FB3C-7977-4185-A275-35DC63C604E8}" type="datetime'''''''''''''2''''''''''''''''''''''''''''''''''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0DF76A9E-1E6F-8337-7449-130CE8BC68C0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2F578B6-4EB6-365E-A612-F58F35F3F261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gray">
          <a:xfrm>
            <a:off x="16222663" y="34988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DAB138C-5B93-4936-A0AF-D4FEEC4D0D8E}" type="datetime'''''1''''''''''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1DABEF59-FBA3-D503-F210-7D853DCF94B6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gray">
          <a:xfrm>
            <a:off x="16184563" y="615791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36EC87-4780-4A44-9178-52DC3304ED8B}" type="datetime'''''''7''2''''''''''''''''''''''''''%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468B589B-01E8-0AA6-9FCE-D7BF87C39675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242BF7B7-3A2B-79A6-FAF6-C51415C83E30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gray">
          <a:xfrm>
            <a:off x="16998950" y="35258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BF44AD-AD0E-4738-B625-F64E6DEAFADF}" type="datetime'''''2''''''''''''''''''''''%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4BABF024-3EAF-6414-8957-E0FDE96FFBD7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gray">
          <a:xfrm>
            <a:off x="16960850" y="62833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4778C2E-6164-417A-8C24-7792867650EC}" type="datetime'''''6''''''''''''''''''8''%''''''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8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46EFB99B-C7E5-BB2A-248B-5F6D66FD2A8E}"/>
              </a:ext>
            </a:extLst>
          </p:cNvPr>
          <p:cNvSpPr txBox="1">
            <a:spLocks/>
          </p:cNvSpPr>
          <p:nvPr>
            <p:custDataLst>
              <p:tags r:id="rId152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E9203EA2-BC1D-BF6E-F081-9C96796757CB}"/>
              </a:ext>
            </a:extLst>
          </p:cNvPr>
          <p:cNvSpPr txBox="1">
            <a:spLocks/>
          </p:cNvSpPr>
          <p:nvPr>
            <p:custDataLst>
              <p:tags r:id="rId153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08EBD2F2-86FB-A8BA-DE02-AA5FB645D157}"/>
              </a:ext>
            </a:extLst>
          </p:cNvPr>
          <p:cNvSpPr txBox="1">
            <a:spLocks/>
          </p:cNvSpPr>
          <p:nvPr>
            <p:custDataLst>
              <p:tags r:id="rId154"/>
            </p:custDataLst>
          </p:nvPr>
        </p:nvSpPr>
        <p:spPr bwMode="gray">
          <a:xfrm>
            <a:off x="17737138" y="636587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1FA175C-D9DA-4D0E-B60E-0B5B9D7B6F7D}" type="datetime'6''''''''''''''''''''''''''''''''''5''%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5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DE4F1A6B-7821-C58A-C805-F87E8ECE873D}"/>
              </a:ext>
            </a:extLst>
          </p:cNvPr>
          <p:cNvSpPr txBox="1">
            <a:spLocks/>
          </p:cNvSpPr>
          <p:nvPr>
            <p:custDataLst>
              <p:tags r:id="rId155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4C1383A6-1F2C-9C7A-E2BE-4DACB44B6FA7}"/>
              </a:ext>
            </a:extLst>
          </p:cNvPr>
          <p:cNvSpPr txBox="1">
            <a:spLocks/>
          </p:cNvSpPr>
          <p:nvPr>
            <p:custDataLst>
              <p:tags r:id="rId156"/>
            </p:custDataLst>
          </p:nvPr>
        </p:nvSpPr>
        <p:spPr bwMode="gray">
          <a:xfrm>
            <a:off x="18551525" y="35004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29ED02-9BFF-4E29-A62B-B31C2BE678C8}" type="datetime'''''''''''1%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867FC92-EDDF-1814-7BBC-7B5732E444E4}"/>
              </a:ext>
            </a:extLst>
          </p:cNvPr>
          <p:cNvSpPr txBox="1">
            <a:spLocks/>
          </p:cNvSpPr>
          <p:nvPr>
            <p:custDataLst>
              <p:tags r:id="rId157"/>
            </p:custDataLst>
          </p:nvPr>
        </p:nvSpPr>
        <p:spPr bwMode="gray">
          <a:xfrm>
            <a:off x="18513425" y="6429375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9610237-2672-4351-A55B-132D67E4E06A}" type="datetime'''6''''''''''''''''''''''3''''''''%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E155ACE6-F8CA-3EE4-C034-9D2C1848017F}"/>
              </a:ext>
            </a:extLst>
          </p:cNvPr>
          <p:cNvSpPr txBox="1">
            <a:spLocks/>
          </p:cNvSpPr>
          <p:nvPr>
            <p:custDataLst>
              <p:tags r:id="rId158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B355E1-665D-A8E7-ADEE-18F3B6D657AD}"/>
              </a:ext>
            </a:extLst>
          </p:cNvPr>
          <p:cNvSpPr txBox="1">
            <a:spLocks/>
          </p:cNvSpPr>
          <p:nvPr>
            <p:custDataLst>
              <p:tags r:id="rId159"/>
            </p:custDataLst>
          </p:nvPr>
        </p:nvSpPr>
        <p:spPr bwMode="gray">
          <a:xfrm>
            <a:off x="19326225" y="34750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86E6047-607F-49AC-8F45-AC6F9E5306C7}" type="datetime'''''''''''''''''''''''''''''''''''''''0''''''%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D2916BAA-AC96-3DFD-F7DD-D5673E8C9A13}"/>
              </a:ext>
            </a:extLst>
          </p:cNvPr>
          <p:cNvSpPr txBox="1">
            <a:spLocks/>
          </p:cNvSpPr>
          <p:nvPr>
            <p:custDataLst>
              <p:tags r:id="rId160"/>
            </p:custDataLst>
          </p:nvPr>
        </p:nvSpPr>
        <p:spPr bwMode="gray">
          <a:xfrm>
            <a:off x="19288125" y="6440488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B5EF114-E4D1-4975-9389-7FAD6203E64C}" type="datetime'''''''''''''''''''''6''''''3''''''''''''''''''''''%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14D59694-B92C-D65E-1EBF-28DACCC82240}"/>
              </a:ext>
            </a:extLst>
          </p:cNvPr>
          <p:cNvSpPr txBox="1">
            <a:spLocks/>
          </p:cNvSpPr>
          <p:nvPr>
            <p:custDataLst>
              <p:tags r:id="rId161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4E12FDE-0B6F-F04C-76A2-19EE96F74C3C}"/>
              </a:ext>
            </a:extLst>
          </p:cNvPr>
          <p:cNvSpPr txBox="1">
            <a:spLocks/>
          </p:cNvSpPr>
          <p:nvPr>
            <p:custDataLst>
              <p:tags r:id="rId162"/>
            </p:custDataLst>
          </p:nvPr>
        </p:nvSpPr>
        <p:spPr bwMode="gray">
          <a:xfrm>
            <a:off x="19942175" y="351790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CB02B13-0E93-458F-97CB-F5E8077FF2B6}" type="datetime'''''2''''''''''''''%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9E2D7D28-D6A6-61D3-8FB7-34DFB839F9B7}"/>
              </a:ext>
            </a:extLst>
          </p:cNvPr>
          <p:cNvSpPr txBox="1">
            <a:spLocks/>
          </p:cNvSpPr>
          <p:nvPr>
            <p:custDataLst>
              <p:tags r:id="rId163"/>
            </p:custDataLst>
          </p:nvPr>
        </p:nvSpPr>
        <p:spPr bwMode="gray">
          <a:xfrm>
            <a:off x="19864388" y="6497638"/>
            <a:ext cx="309563" cy="165100"/>
          </a:xfrm>
          <a:prstGeom prst="rect">
            <a:avLst/>
          </a:prstGeom>
          <a:solidFill>
            <a:srgbClr val="009193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19F4C2B-C829-4DEE-8EAE-EE4D53475D9C}" type="datetime'''''''''''''''''''''''''''''''''''''''''''''''''''''61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2C20DFCC-74A7-83C1-C722-A80E27243957}"/>
              </a:ext>
            </a:extLst>
          </p:cNvPr>
          <p:cNvSpPr txBox="1">
            <a:spLocks/>
          </p:cNvSpPr>
          <p:nvPr>
            <p:custDataLst>
              <p:tags r:id="rId164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1AB10DF9-AEAE-A19D-787F-DB0B45262387}"/>
              </a:ext>
            </a:extLst>
          </p:cNvPr>
          <p:cNvSpPr txBox="1">
            <a:spLocks/>
          </p:cNvSpPr>
          <p:nvPr>
            <p:custDataLst>
              <p:tags r:id="rId165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72259790-C5F5-52B6-24C2-CBCFFB5BB483}"/>
              </a:ext>
            </a:extLst>
          </p:cNvPr>
          <p:cNvSpPr txBox="1">
            <a:spLocks/>
          </p:cNvSpPr>
          <p:nvPr>
            <p:custDataLst>
              <p:tags r:id="rId166"/>
            </p:custDataLst>
          </p:nvPr>
        </p:nvSpPr>
        <p:spPr bwMode="auto">
          <a:xfrm>
            <a:off x="20361275" y="4683125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1E2B0B16-D5AD-DC58-6095-C88E7396C01C}"/>
              </a:ext>
            </a:extLst>
          </p:cNvPr>
          <p:cNvSpPr txBox="1">
            <a:spLocks/>
          </p:cNvSpPr>
          <p:nvPr>
            <p:custDataLst>
              <p:tags r:id="rId167"/>
            </p:custDataLst>
          </p:nvPr>
        </p:nvSpPr>
        <p:spPr bwMode="auto">
          <a:xfrm>
            <a:off x="20361275" y="64849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04F0A0C1-2198-F3A2-7564-8E7813FB033F}"/>
              </a:ext>
            </a:extLst>
          </p:cNvPr>
          <p:cNvSpPr txBox="1">
            <a:spLocks/>
          </p:cNvSpPr>
          <p:nvPr>
            <p:custDataLst>
              <p:tags r:id="rId168"/>
            </p:custDataLst>
          </p:nvPr>
        </p:nvSpPr>
        <p:spPr bwMode="gray">
          <a:xfrm>
            <a:off x="11568113" y="32845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AB4C8D-BEBC-4FAB-B43B-DFDD055A95A6}" type="datetime'4'',''6''''''''''''''''8''''''5'''''''">
              <a:rPr kumimoji="1" lang="zh-CN" altLang="en-US" sz="1400" smtClean="0"/>
              <a:pPr/>
              <a:t>4,685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DFAF2E5E-8B93-5E37-77B7-47F5B9EE6201}"/>
              </a:ext>
            </a:extLst>
          </p:cNvPr>
          <p:cNvSpPr txBox="1">
            <a:spLocks/>
          </p:cNvSpPr>
          <p:nvPr>
            <p:custDataLst>
              <p:tags r:id="rId169"/>
            </p:custDataLst>
          </p:nvPr>
        </p:nvSpPr>
        <p:spPr bwMode="gray">
          <a:xfrm>
            <a:off x="122316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6F24D2-EAF1-441C-9294-B40A47958DE9}" type="datetime'''4'''''''',''''8''''''''''''''''''''''''''''''''''75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75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C90FAC66-845C-4337-662E-3A9D78B9BB3F}"/>
              </a:ext>
            </a:extLst>
          </p:cNvPr>
          <p:cNvSpPr txBox="1">
            <a:spLocks/>
          </p:cNvSpPr>
          <p:nvPr>
            <p:custDataLst>
              <p:tags r:id="rId170"/>
            </p:custDataLst>
          </p:nvPr>
        </p:nvSpPr>
        <p:spPr bwMode="gray">
          <a:xfrm>
            <a:off x="1300638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3C06C8-4CC0-4FEB-A276-5053857046D1}" type="datetime'5,''''''''''06''''''''''''''3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063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E480F2FF-B28E-14B4-A1EA-6107D178C67D}"/>
              </a:ext>
            </a:extLst>
          </p:cNvPr>
          <p:cNvSpPr txBox="1">
            <a:spLocks/>
          </p:cNvSpPr>
          <p:nvPr>
            <p:custDataLst>
              <p:tags r:id="rId171"/>
            </p:custDataLst>
          </p:nvPr>
        </p:nvSpPr>
        <p:spPr bwMode="gray">
          <a:xfrm>
            <a:off x="1378267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3EDA00-4F53-4D0A-BF0A-9EC01805F7DA}" type="datetime'''5'''''''''''''''''',''2''''4''''''''''''''''''''7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247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6DA43F0E-90F9-9143-E11A-D5FB4D43D49D}"/>
              </a:ext>
            </a:extLst>
          </p:cNvPr>
          <p:cNvSpPr txBox="1">
            <a:spLocks/>
          </p:cNvSpPr>
          <p:nvPr>
            <p:custDataLst>
              <p:tags r:id="rId172"/>
            </p:custDataLst>
          </p:nvPr>
        </p:nvSpPr>
        <p:spPr bwMode="gray">
          <a:xfrm>
            <a:off x="1455896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2232E-2AB9-43F1-8E33-42D0E5FC6E70}" type="datetime'''''5'''',''''3''''52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52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09833C3E-16DB-11B8-A991-D54076D5A309}"/>
              </a:ext>
            </a:extLst>
          </p:cNvPr>
          <p:cNvSpPr txBox="1">
            <a:spLocks/>
          </p:cNvSpPr>
          <p:nvPr>
            <p:custDataLst>
              <p:tags r:id="rId173"/>
            </p:custDataLst>
          </p:nvPr>
        </p:nvSpPr>
        <p:spPr bwMode="gray">
          <a:xfrm>
            <a:off x="153352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60AEEE-F750-4D02-B57D-984E9D52ADF4}" type="datetime'''''5'''''''',3''''''''''''''''''4''''''''''''5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45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170C8D79-37B6-4980-0EBE-A82809E14522}"/>
              </a:ext>
            </a:extLst>
          </p:cNvPr>
          <p:cNvSpPr txBox="1">
            <a:spLocks/>
          </p:cNvSpPr>
          <p:nvPr>
            <p:custDataLst>
              <p:tags r:id="rId174"/>
            </p:custDataLst>
          </p:nvPr>
        </p:nvSpPr>
        <p:spPr bwMode="gray">
          <a:xfrm>
            <a:off x="1610995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BEDDF9-573A-4FD8-8A6D-14A35626B02F}" type="datetime'5'''''''''''''''''''''''''''''',''''''''''''''3''''''''''''28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2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17BE1E89-38D6-4CA2-A777-9DE0213CE3CE}"/>
              </a:ext>
            </a:extLst>
          </p:cNvPr>
          <p:cNvSpPr txBox="1">
            <a:spLocks/>
          </p:cNvSpPr>
          <p:nvPr>
            <p:custDataLst>
              <p:tags r:id="rId175"/>
            </p:custDataLst>
          </p:nvPr>
        </p:nvSpPr>
        <p:spPr bwMode="gray">
          <a:xfrm>
            <a:off x="16886238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071E4-F128-4202-87E2-84CA5FFDEB16}" type="datetime'''''''''''''''5'''''''',''''''51''''''''''''9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51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30DE81ED-AD0F-BF76-6FD4-DA47D105F7E8}"/>
              </a:ext>
            </a:extLst>
          </p:cNvPr>
          <p:cNvSpPr txBox="1">
            <a:spLocks/>
          </p:cNvSpPr>
          <p:nvPr>
            <p:custDataLst>
              <p:tags r:id="rId176"/>
            </p:custDataLst>
          </p:nvPr>
        </p:nvSpPr>
        <p:spPr bwMode="gray">
          <a:xfrm>
            <a:off x="17662525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64516A-EDBF-48D2-BC91-BA27211BCD15}" type="datetime'''''''''''''5,5''8''''''''''''8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588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6BC5C8B1-13C1-4AD8-6B8F-EDF5CD90FDFD}"/>
              </a:ext>
            </a:extLst>
          </p:cNvPr>
          <p:cNvSpPr txBox="1">
            <a:spLocks/>
          </p:cNvSpPr>
          <p:nvPr>
            <p:custDataLst>
              <p:tags r:id="rId177"/>
            </p:custDataLst>
          </p:nvPr>
        </p:nvSpPr>
        <p:spPr bwMode="gray">
          <a:xfrm>
            <a:off x="18438813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7B94F1-0C37-428F-80BA-59088CB76E44}" type="datetime'''5,''''''''''''''510''''''''''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51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CF18D636-5DA8-51D0-38EA-511EFBF30BA7}"/>
              </a:ext>
            </a:extLst>
          </p:cNvPr>
          <p:cNvSpPr txBox="1">
            <a:spLocks/>
          </p:cNvSpPr>
          <p:nvPr>
            <p:custDataLst>
              <p:tags r:id="rId178"/>
            </p:custDataLst>
          </p:nvPr>
        </p:nvSpPr>
        <p:spPr bwMode="gray">
          <a:xfrm>
            <a:off x="19305588" y="3322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5BC561-1907-4AEA-806B-B8F52D806E93}" type="datetime'''4'''''',2''''''''''''''2''''0'''''''''''">
              <a:rPr kumimoji="1" lang="zh-CN" altLang="en-US" sz="1400" smtClean="0"/>
              <a:pPr/>
              <a:t>4,22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750667A9-459E-6E31-78CB-B1B718AADEC0}"/>
              </a:ext>
            </a:extLst>
          </p:cNvPr>
          <p:cNvSpPr txBox="1">
            <a:spLocks/>
          </p:cNvSpPr>
          <p:nvPr>
            <p:custDataLst>
              <p:tags r:id="rId179"/>
            </p:custDataLst>
          </p:nvPr>
        </p:nvSpPr>
        <p:spPr bwMode="gray">
          <a:xfrm>
            <a:off x="19989800" y="3330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F70EE4-F438-44AE-9BD3-37B9142E723A}" type="datetime'''''''5'''''',6''''''''''''7''''''''''1''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1A37E840-8416-FABD-E8A2-F3161C3BB467}"/>
              </a:ext>
            </a:extLst>
          </p:cNvPr>
          <p:cNvSpPr txBox="1">
            <a:spLocks/>
          </p:cNvSpPr>
          <p:nvPr>
            <p:custDataLst>
              <p:tags r:id="rId180"/>
            </p:custDataLst>
          </p:nvPr>
        </p:nvSpPr>
        <p:spPr bwMode="gray">
          <a:xfrm>
            <a:off x="12306300" y="556260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D2AD51D-5934-43AA-B3D5-4C3304E67DF5}" type="datetime'''''''9''''''''''''''2''%''''''''''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9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3527224-1B1E-4FA8-8F84-C50E0AA3A15B}"/>
              </a:ext>
            </a:extLst>
          </p:cNvPr>
          <p:cNvSpPr txBox="1">
            <a:spLocks/>
          </p:cNvSpPr>
          <p:nvPr>
            <p:custDataLst>
              <p:tags r:id="rId181"/>
            </p:custDataLst>
          </p:nvPr>
        </p:nvSpPr>
        <p:spPr bwMode="gray">
          <a:xfrm>
            <a:off x="12344400" y="35226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07EB8C9-5FC6-4A4F-9F2A-65B08F081B6D}" type="datetime'''''''''''''''''''''''''''2''''''''''''''''%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8BB55A9B-AFE8-1474-9AAC-22CABBFAEFE9}"/>
              </a:ext>
            </a:extLst>
          </p:cNvPr>
          <p:cNvSpPr txBox="1">
            <a:spLocks/>
          </p:cNvSpPr>
          <p:nvPr>
            <p:custDataLst>
              <p:tags r:id="rId182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730F47D-8EC8-C75B-D799-108AC7EFB6ED}"/>
              </a:ext>
            </a:extLst>
          </p:cNvPr>
          <p:cNvSpPr txBox="1">
            <a:spLocks/>
          </p:cNvSpPr>
          <p:nvPr>
            <p:custDataLst>
              <p:tags r:id="rId183"/>
            </p:custDataLst>
          </p:nvPr>
        </p:nvSpPr>
        <p:spPr bwMode="gray">
          <a:xfrm>
            <a:off x="11728450" y="5381625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C5A93D-FB68-4C09-888D-571A35ACD049}" type="datetime'''9''''''''''''''''''8''''''''''''''''''%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98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3106FE8-C620-466E-CED7-A8BEF8371DE1}"/>
              </a:ext>
            </a:extLst>
          </p:cNvPr>
          <p:cNvSpPr txBox="1">
            <a:spLocks/>
          </p:cNvSpPr>
          <p:nvPr>
            <p:custDataLst>
              <p:tags r:id="rId184"/>
            </p:custDataLst>
          </p:nvPr>
        </p:nvSpPr>
        <p:spPr bwMode="gray">
          <a:xfrm>
            <a:off x="11728450" y="3524250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047A9BD-D0C8-471F-9AF4-3C3C4C774FB6}" type="datetime'''''2''''''''''''''''''''''%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63E80DD-072F-68C3-B7D9-B3013F95B29F}"/>
              </a:ext>
            </a:extLst>
          </p:cNvPr>
          <p:cNvSpPr txBox="1">
            <a:spLocks/>
          </p:cNvSpPr>
          <p:nvPr>
            <p:custDataLst>
              <p:tags r:id="rId185"/>
            </p:custDataLst>
          </p:nvPr>
        </p:nvSpPr>
        <p:spPr bwMode="gray">
          <a:xfrm>
            <a:off x="13081000" y="57324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8D2DA32-FB77-405B-8A22-094C6B670E08}" type="datetime'8''''6''''''''''''%'''''''''''''''''''''''''''''''''">
              <a:rPr kumimoji="1" lang="zh-CN" altLang="en-US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6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AA7A87CF-FEAF-15E8-C820-C4B227553C13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8F9B55D8-ACB8-97FB-A610-9BD6599DBF53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67126CCD-2226-1B2E-EFA0-7FCF1FA76E2A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3734518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22FF6-B7C3-5DD4-6718-3F9149209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12F5FE8-F9F2-8B99-D9E8-6644E60A8D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94246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9" imgW="7772400" imgH="10058400" progId="TCLayout.ActiveDocument.1">
                  <p:embed/>
                </p:oleObj>
              </mc:Choice>
              <mc:Fallback>
                <p:oleObj name="think-cell 幻灯片" r:id="rId10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B71261-8D74-FC90-DC43-CD0A1DAF3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Chart 3">
            <a:extLst>
              <a:ext uri="{FF2B5EF4-FFF2-40B4-BE49-F238E27FC236}">
                <a16:creationId xmlns:a16="http://schemas.microsoft.com/office/drawing/2014/main" id="{6E11D2DE-E9EE-AE6F-0A7E-36702C6DC67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441181"/>
              </p:ext>
            </p:extLst>
          </p:nvPr>
        </p:nvGraphicFramePr>
        <p:xfrm>
          <a:off x="-14288" y="3286125"/>
          <a:ext cx="944880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cxnSp>
        <p:nvCxnSpPr>
          <p:cNvPr id="97" name="直线连接符 96">
            <a:extLst>
              <a:ext uri="{FF2B5EF4-FFF2-40B4-BE49-F238E27FC236}">
                <a16:creationId xmlns:a16="http://schemas.microsoft.com/office/drawing/2014/main" id="{D7537726-E89C-BB25-DD80-318E480CAC7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9428163" y="5086350"/>
            <a:ext cx="0" cy="5937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直线连接符 95">
            <a:extLst>
              <a:ext uri="{FF2B5EF4-FFF2-40B4-BE49-F238E27FC236}">
                <a16:creationId xmlns:a16="http://schemas.microsoft.com/office/drawing/2014/main" id="{ED8A2B70-E8DD-6FB3-6004-C5BE1E09373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51963" y="5676900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EE144FC4-C3E4-A2E4-6A12-32805B9D51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994650" y="5089525"/>
            <a:ext cx="14763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直线连接符 69">
            <a:extLst>
              <a:ext uri="{FF2B5EF4-FFF2-40B4-BE49-F238E27FC236}">
                <a16:creationId xmlns:a16="http://schemas.microsoft.com/office/drawing/2014/main" id="{1AFC2B32-5EC6-EBF1-2D88-1EFB143C1FB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435725" y="5089525"/>
            <a:ext cx="1158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直线连接符 67">
            <a:extLst>
              <a:ext uri="{FF2B5EF4-FFF2-40B4-BE49-F238E27FC236}">
                <a16:creationId xmlns:a16="http://schemas.microsoft.com/office/drawing/2014/main" id="{B5019E71-CF9A-4D59-5DF7-53FD69B4AF1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878388" y="5089525"/>
            <a:ext cx="11572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74415CDF-0648-2EBF-045E-39040A7EA18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098925" y="5089525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线连接符 61">
            <a:extLst>
              <a:ext uri="{FF2B5EF4-FFF2-40B4-BE49-F238E27FC236}">
                <a16:creationId xmlns:a16="http://schemas.microsoft.com/office/drawing/2014/main" id="{EFD06FD3-8DAA-E1B0-F27E-03A62E25CE2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319463" y="5089525"/>
            <a:ext cx="37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线连接符 59">
            <a:extLst>
              <a:ext uri="{FF2B5EF4-FFF2-40B4-BE49-F238E27FC236}">
                <a16:creationId xmlns:a16="http://schemas.microsoft.com/office/drawing/2014/main" id="{F65BBECF-4A19-FC96-1DDF-8B0BBFCEA67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704975" y="5089525"/>
            <a:ext cx="12144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70A0F9EE-EC49-55B6-BD94-94374DFF84C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82638" y="5089525"/>
            <a:ext cx="638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F9454659-AB69-F3C4-4322-40498C0181B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858838" y="3968750"/>
            <a:ext cx="0" cy="635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线连接符 30">
            <a:extLst>
              <a:ext uri="{FF2B5EF4-FFF2-40B4-BE49-F238E27FC236}">
                <a16:creationId xmlns:a16="http://schemas.microsoft.com/office/drawing/2014/main" id="{DB272DB6-0B15-1182-0228-83832608A7C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351963" y="3395663"/>
            <a:ext cx="0" cy="2190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线连接符 28">
            <a:extLst>
              <a:ext uri="{FF2B5EF4-FFF2-40B4-BE49-F238E27FC236}">
                <a16:creationId xmlns:a16="http://schemas.microsoft.com/office/drawing/2014/main" id="{7C573373-F944-D93A-52C3-FA0FCA56EE5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58838" y="3395663"/>
            <a:ext cx="8493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F58C20BF-D61C-32D4-A0FF-A6C7C2B7D59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858838" y="3395663"/>
            <a:ext cx="0" cy="381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5AB31B3F-3502-09A3-8E1B-CF0315BB50B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827088" y="3968750"/>
            <a:ext cx="203200" cy="1025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线连接符 38">
            <a:extLst>
              <a:ext uri="{FF2B5EF4-FFF2-40B4-BE49-F238E27FC236}">
                <a16:creationId xmlns:a16="http://schemas.microsoft.com/office/drawing/2014/main" id="{71861697-61E0-56C0-4513-651328837C7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1562100" y="3965575"/>
            <a:ext cx="107950" cy="957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05FD2501-D2DD-B17C-505C-7B0031AF8905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8572500" y="3749675"/>
            <a:ext cx="25400" cy="1077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EA2D5509-AFE3-5A86-6237-BA34E09D3C2E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7794625" y="3746500"/>
            <a:ext cx="31750" cy="5095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3B6176DC-9336-05EB-8130-2A13B9C5FF9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7015163" y="3890963"/>
            <a:ext cx="42863" cy="387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线连接符 42">
            <a:extLst>
              <a:ext uri="{FF2B5EF4-FFF2-40B4-BE49-F238E27FC236}">
                <a16:creationId xmlns:a16="http://schemas.microsoft.com/office/drawing/2014/main" id="{46208B9A-83C1-EA51-0626-F15B1431FF8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6235700" y="3663950"/>
            <a:ext cx="49213" cy="742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28A15991-4597-EF17-70BC-BA2E5647EA8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H="1">
            <a:off x="5456238" y="3873500"/>
            <a:ext cx="39688" cy="796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4094E84B-B416-5607-8C00-B3A8D96EA5F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4678363" y="3821113"/>
            <a:ext cx="44450" cy="750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A6C7E538-7533-3719-C740-358AAB6377F4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3898900" y="3871913"/>
            <a:ext cx="36513" cy="769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9CEA8599-3149-CB81-6FC4-B1662807BE98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H="1">
            <a:off x="3119438" y="3925888"/>
            <a:ext cx="55563" cy="682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B5B4E251-8723-6730-F5EC-C9C2F2DF9A2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2339975" y="3962400"/>
            <a:ext cx="55563" cy="703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文本占位符 2">
            <a:extLst>
              <a:ext uri="{FF2B5EF4-FFF2-40B4-BE49-F238E27FC236}">
                <a16:creationId xmlns:a16="http://schemas.microsoft.com/office/drawing/2014/main" id="{60CE83A0-A979-F618-3E43-3CA37ABC8B16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9578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66671-5AA9-47F5-96E6-1F0B105537FA}" type="datetime'''''''''''''''''''2''''''''0''2''''''''''51''''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FD626B0-B5A9-FAE0-CF0F-09EFEA4EA5BC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423988" y="4895850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B8E4696-EBFF-4386-A954-1AFCC74E2B28}" type="datetime'''''''''''''''3''''''32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3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F32012-8457-EB49-4382-6463BDB3753F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827088" y="49704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FB4C761-BE33-4CDA-8CC2-EE1227982168}" type="datetime'3''5''''''''''''''''''''''''1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5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77ECCBB-A93C-9B9A-374D-6840730494C3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6097588" y="43783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C28E0E7-8EC7-489B-8E2A-AFAA7440BB3D}" type="datetime'''''''''''''''''30''''''''''''1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01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3CAE6F0D-B308-6842-5599-5FFCAB3C7F1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1784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840EC-2666-418E-A020-4C58C415D739}" type="datetime'''''''''2''''''''''''''''''''0''2''5''1''0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18504A0-84E0-CA22-0C58-0723E77DB7E5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5318125" y="463073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890E3C-4339-46D3-832E-010F1E50A47F}" type="datetime'''''''''''''''''''''''''''''''''''''1''''9''''''''''''6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9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FFC35283-864A-A72B-AB45-A5A5BC2C76E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4005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4B063-DA55-476A-A5C7-663086F08721}" type="datetime'''''''''20''''''''''250''''''''''''''''''''''''''''''''''''9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77" name="文本占位符 2">
            <a:extLst>
              <a:ext uri="{FF2B5EF4-FFF2-40B4-BE49-F238E27FC236}">
                <a16:creationId xmlns:a16="http://schemas.microsoft.com/office/drawing/2014/main" id="{59025085-D170-F561-8693-660F2152FB5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776288" y="377666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1712F9-CB7C-48A5-93E3-944ACF6B34E6}" type="datetime'''''''''''''''''1''''''''''''''0'',''''90''''4'''''''">
              <a:rPr kumimoji="1" lang="zh-CN" altLang="en-US" sz="1400" smtClean="0"/>
              <a:pPr/>
              <a:t>10,904</a:t>
            </a:fld>
            <a:endParaRPr kumimoji="1" lang="zh-CN" alt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596387F-8339-62B1-33D5-AF0EA5FE484C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540250" y="45386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2E1F4B-59ED-4B19-88FB-C814E6E03E74}" type="datetime'2''''7''''''''''''''''''''''3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7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58CA765B-F6D6-1EF8-E0CF-86ACFC86B21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1408113" y="377348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3CB8F3-99A4-4F01-AFB5-37A8A64F5D63}" type="datetime'''''''''''''''1''''''''''''''''1,2''''5''''''''''''''''''1'">
              <a:rPr kumimoji="1" lang="zh-CN" altLang="en-US" sz="1400" smtClean="0"/>
              <a:pPr/>
              <a:t>11,251</a:t>
            </a:fld>
            <a:endParaRPr kumimoji="1" lang="zh-CN" altLang="en-US" sz="1400" dirty="0"/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6C81D2CB-BA64-9E44-5F6A-EC3471E7037B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494838" y="4735513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04125-F55B-4589-90EE-86A7BDCEFDEB}" type="datetime'本''年''''''''''''''（''''''不''''''''''''含''''''''''当''月''）'''''">
              <a:rPr kumimoji="1" lang="zh-CN" altLang="en-US" sz="1400" b="1" smtClean="0">
                <a:solidFill>
                  <a:schemeClr val="accent2">
                    <a:lumMod val="75000"/>
                  </a:schemeClr>
                </a:solidFill>
              </a:rPr>
              <a:pPr/>
              <a:t>本年（不含当月）</a:t>
            </a:fld>
            <a:endParaRPr kumimoji="1" lang="zh-CN" altLang="en-US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9" name="文本占位符 2">
            <a:extLst>
              <a:ext uri="{FF2B5EF4-FFF2-40B4-BE49-F238E27FC236}">
                <a16:creationId xmlns:a16="http://schemas.microsoft.com/office/drawing/2014/main" id="{6F79ABE1-AF34-0958-DDEE-B50965CB73F1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2130425" y="377031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ED41D3-98ED-407D-8672-86E92BB1289B}" type="datetime'''''''12'''''''''''''',''''''''''''''5''''''''''''00'''''''">
              <a:rPr kumimoji="1" lang="zh-CN" altLang="en-US" sz="1400" smtClean="0"/>
              <a:pPr/>
              <a:t>12,500</a:t>
            </a:fld>
            <a:endParaRPr kumimoji="1" lang="zh-CN" altLang="en-US" sz="14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69795CD2-2476-7129-941B-B392B0B283C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494838" y="38306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547977-607E-4F17-BCE5-21F55836FD75}" type="datetime'''''''当''''''''''''''''''''''''''''''''''''''''''月'''''">
              <a:rPr kumimoji="1" lang="zh-CN" altLang="en-US" sz="1400" b="1" smtClean="0">
                <a:solidFill>
                  <a:schemeClr val="accent4"/>
                </a:solidFill>
              </a:rPr>
              <a:pPr/>
              <a:t>当月</a:t>
            </a:fld>
            <a:endParaRPr kumimoji="1" lang="zh-CN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200C0446-D8B4-4E92-1D97-A29F51046712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2909888" y="3733800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D2C6FC-AED8-4EAE-B29B-9323C2DC706A}" type="datetime'''''''''''1''''''2'',''''''''''''''''771'''''''''''''''''">
              <a:rPr kumimoji="1" lang="zh-CN" altLang="en-US" sz="1400" smtClean="0"/>
              <a:pPr/>
              <a:t>12,771</a:t>
            </a:fld>
            <a:endParaRPr kumimoji="1" lang="zh-CN" altLang="en-US" sz="1400" dirty="0"/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D0D6D422-3070-C64D-143B-236D087BD89B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0741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158CA-C96E-4538-A59A-D9EFE2144D83}" type="datetime'''''''''''''2''''''''''''''''0''''''''''2''''''60''''3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81" name="文本占位符 2">
            <a:extLst>
              <a:ext uri="{FF2B5EF4-FFF2-40B4-BE49-F238E27FC236}">
                <a16:creationId xmlns:a16="http://schemas.microsoft.com/office/drawing/2014/main" id="{872B8F11-2AFD-7430-BE56-7391B0EA2A9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667125" y="367982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A119E7-C827-478D-A476-22F2D1D3D806}" type="datetime'''1''''''2'''',6''''''''''''''''''''''''''''''''''0''9'">
              <a:rPr kumimoji="1" lang="zh-CN" altLang="en-US" sz="1400" smtClean="0"/>
              <a:pPr/>
              <a:t>12,609</a:t>
            </a:fld>
            <a:endParaRPr kumimoji="1" lang="zh-CN" altLang="en-US" sz="1400" dirty="0"/>
          </a:p>
        </p:txBody>
      </p:sp>
      <p:sp useBgFill="1">
        <p:nvSpPr>
          <p:cNvPr id="15" name="Text Placeholder 2">
            <a:extLst>
              <a:ext uri="{FF2B5EF4-FFF2-40B4-BE49-F238E27FC236}">
                <a16:creationId xmlns:a16="http://schemas.microsoft.com/office/drawing/2014/main" id="{602108E4-E611-4646-71C1-330F29B64744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029700" y="3843338"/>
            <a:ext cx="27781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BDFE3FB-2925-45C4-B0EF-5CE1AC33B7B2}" type="datetime'''''''''''''''''''''''''57''''''''''''''0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7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C3C30785-0C07-8734-E5A8-4B1C5FE8C30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456113" y="362902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5009CD-0BCC-45AA-B703-46A67E7B28A9}" type="datetime'12'''''''''',''''''''''''''''95''''2'">
              <a:rPr kumimoji="1" lang="zh-CN" altLang="en-US" sz="1400" smtClean="0"/>
              <a:pPr/>
              <a:t>12,952</a:t>
            </a:fld>
            <a:endParaRPr kumimoji="1" lang="zh-CN" altLang="en-US" sz="1400" dirty="0"/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EB99317E-1EB1-0288-B998-A5ECDC5728A7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82946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BE190-07DE-465D-9A4D-C8D611D3F5E4}" type="datetime'''''2''''0''''''''''''2''''''''''''6''''''''0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11E544FF-D104-FAC9-52BB-540F2D0E9A1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5227638" y="368141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ADB70C-D4B6-404D-950B-E0C35A368425}" type="datetime'''''''1''''''''''''''''''''''''2,''474'''''''''''''''''''">
              <a:rPr kumimoji="1" lang="zh-CN" altLang="en-US" sz="1400" smtClean="0"/>
              <a:pPr/>
              <a:t>12,47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3C4847B8-55E0-249A-F7A7-14133E697BD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8434388" y="47799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8DBCB-BB6A-401A-8985-3E156CBD26FF}" type="datetime'''''''''1''''2''''''''''''2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2</a:t>
            </a:fld>
            <a:endParaRPr kumimoji="1" lang="zh-CN" altLang="en-US" sz="12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AD8C3059-7CDF-04C4-8886-3BB7A0E8380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6018213" y="347186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91BC33-2FE2-46DC-BBD8-398A77CA91E3}" type="datetime'''''''''1''''3'''''''''''''''''''''''',''7''''''''''4''''9'''">
              <a:rPr kumimoji="1" lang="zh-CN" altLang="en-US" sz="1400" smtClean="0"/>
              <a:pPr/>
              <a:t>13,74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41330F8F-6414-F128-E68E-21ED4571C441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751681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3205D-F179-441E-A4EF-8A369707655F}" type="datetime'2''''''''''''''''02''''''''''''''''''''''''''''''''6''0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85" name="文本占位符 2">
            <a:extLst>
              <a:ext uri="{FF2B5EF4-FFF2-40B4-BE49-F238E27FC236}">
                <a16:creationId xmlns:a16="http://schemas.microsoft.com/office/drawing/2014/main" id="{3B5557E4-EBD6-0752-B39B-C0A0B594FE86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6796088" y="36988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A9E805-B4B8-4AF1-BCB7-9A24E0D3435C}" type="datetime'''''''''1''4'''''',''''''''3''''7''''''''''''''1'''''''''">
              <a:rPr kumimoji="1" lang="zh-CN" altLang="en-US" sz="1400" smtClean="0"/>
              <a:pPr/>
              <a:t>14,3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A22EBB3-40CC-0864-675E-74A570CBC03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7656513" y="4224338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2E1F357-C821-4144-8A36-463FC24FF7D1}" type="datetime'2''''''''''''''''''''''''''''''''7''''''''''''''''''''6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76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518FB741-BB23-C692-2CD3-21E7D1303CDB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7559675" y="3554413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D2BA0F7-DFCF-42CE-BC42-9ECEC8D15BA9}" type="datetime'''''1''4'',''4''''''''''''''''''''''7''''''''''''''7'''''">
              <a:rPr kumimoji="1" lang="zh-CN" altLang="en-US" sz="1400" smtClean="0"/>
              <a:pPr/>
              <a:t>14,47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1" name="文本占位符 2">
            <a:extLst>
              <a:ext uri="{FF2B5EF4-FFF2-40B4-BE49-F238E27FC236}">
                <a16:creationId xmlns:a16="http://schemas.microsoft.com/office/drawing/2014/main" id="{E90ACCBA-BB11-4D6A-ADA4-E40760B37FD4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737350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0B57-52B4-4D09-9C8D-AC2BC1B39971}" type="datetime'''2''''''''''0''''''''''''2''''''51''''''''''2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14E03263-59ED-6AD0-2FC7-485D25784606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8326438" y="355758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A58B83-238F-4012-8DB0-B13B988B0476}" type="datetime'1''''''''''''1'''''''''''''',''''''''71''1'''''''">
              <a:rPr kumimoji="1" lang="zh-CN" altLang="en-US" sz="1400" smtClean="0"/>
              <a:pPr/>
              <a:t>11,71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BD26FB2-0BDA-98AB-ECE7-13A61C92BD8A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877050" y="425132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64B5609-FEB8-4300-93D0-3FCDF85A6DC2}" type="datetime'3''''''''''''''''1''''''''''''''''''''''2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12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163A808B-D945-120F-C428-F2FE0727A3E0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9078913" y="36528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C00A27-2225-46EB-85EA-B20F465923CE}" type="datetime'''''''''''''1''''6'''''',4''7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47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665D0033-F83F-2FF6-FD38-D778AECBBC80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5048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A590B-A3D4-48C6-B8DF-7A328A5E6BB5}" type="datetime'''''''''2''0''''''''''''''''''''''''250''4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05" name="文本占位符 2">
            <a:extLst>
              <a:ext uri="{FF2B5EF4-FFF2-40B4-BE49-F238E27FC236}">
                <a16:creationId xmlns:a16="http://schemas.microsoft.com/office/drawing/2014/main" id="{AECB9D7D-84B9-0B7F-6554-588909EDE62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36210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59A90-46DC-412C-B19A-FAAEEE87F0AA}" type="datetime'''''''''''''20''''2''5''''''''''''''''''''''0''''8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AD1C4BE-F37C-9880-2B44-FC621BDDE2A4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3760788" y="46132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3C3F6F-3BDF-417D-BF4A-4B92CA1FDB8B}" type="datetime'''''''3''0''''''''''''''''''''''''4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04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9412DCF4-DC0D-66A5-C43E-C4886927FBC2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2841625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52E3F-836E-4C61-9FE4-C6F4CE2DBC30}" type="datetime'''''''''''''''''''''''''2''''''''''''''0''''2''50''7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00C6644-782B-9069-1ADB-3DDA46265EF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2981325" y="4587875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787293-7389-42CB-A4F5-9E2858CE925E}" type="datetime'''''''''''''''''''''''''''373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73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4447054E-FF07-4A5F-6946-CDF38D23D079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2062163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F8610-83E4-4C34-BD57-F1643B4D1471}" type="datetime'''2''''''''''''''''''0''''''''''''''2506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4CE7C1A-0844-F92F-A9D0-5F7BDE464F95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2201863" y="4652963"/>
            <a:ext cx="277813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A8F7594-2186-4F9A-8B37-71E8511CBA0B}" type="datetime'''4''''''''''''7''''''''0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70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C445D2B5-9A99-22D1-DA32-B0D1C7FC0FB6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1284288" y="7326313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224D4-7AD2-40C9-BA21-924986211935}" type="datetime'''''''2''0''''''''''''''''''''''''250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E5610B82-8BC7-4E23-C79C-678C244DA637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9494838" y="63769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6DF453-73A7-4091-A7EC-05FDD4D4238A}" type="datetime'''''''''''存''''''量'''''''''''''''''''''''''''''''''''''">
              <a:rPr kumimoji="1" lang="zh-CN" altLang="en-US" sz="1400" b="1" smtClean="0">
                <a:solidFill>
                  <a:srgbClr val="008D8F"/>
                </a:solidFill>
              </a:rPr>
              <a:pPr/>
              <a:t>存量</a:t>
            </a:fld>
            <a:endParaRPr kumimoji="1" lang="zh-CN" altLang="en-US" sz="1400" b="1" dirty="0">
              <a:solidFill>
                <a:srgbClr val="008D8F"/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D7A54D5-4514-4222-2E23-D2514FEDB24A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9169400" y="5203825"/>
            <a:ext cx="517525" cy="273050"/>
          </a:xfrm>
          <a:prstGeom prst="ellipse">
            <a:avLst/>
          </a:prstGeom>
          <a:solidFill>
            <a:srgbClr val="E9163C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11A6A78-C0E4-4E89-B424-CD6E4FE0EB31}" type="datetime'''-''''''''''''''2''7''''''''''''''''''''%''''''''''''''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-27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608D42-6935-E937-2B03-A3361D76D44B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4822825" y="3259138"/>
            <a:ext cx="566738" cy="273050"/>
          </a:xfrm>
          <a:prstGeom prst="ellipse">
            <a:avLst/>
          </a:prstGeom>
          <a:solidFill>
            <a:schemeClr val="accent6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1181D5-A32C-4C99-A3AA-B2923C9176BD}" type="datetime'''+''''''''''''''''5''''''''1''''''%'">
              <a:rPr kumimoji="1" lang="zh-CN" altLang="en-US" sz="1400" b="1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+51%</a:t>
            </a:fld>
            <a:endParaRPr kumimoji="1"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C59DC9F6-9A4C-C4DF-FFC8-E46EF71DDD7E}"/>
              </a:ext>
            </a:extLst>
          </p:cNvPr>
          <p:cNvSpPr txBox="1">
            <a:spLocks/>
          </p:cNvSpPr>
          <p:nvPr/>
        </p:nvSpPr>
        <p:spPr>
          <a:xfrm>
            <a:off x="5924550" y="1859710"/>
            <a:ext cx="9263062" cy="6853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algn="ctr"/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教培行业在线门店量（店）</a:t>
            </a:r>
            <a:endParaRPr lang="en-US" altLang="zh-CN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Y26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Y</a:t>
            </a:r>
            <a:r>
              <a:rPr lang="zh-CN" altLang="en-US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度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4699ED77-F117-6273-C091-43054FD5A62E}"/>
              </a:ext>
            </a:extLst>
          </p:cNvPr>
          <p:cNvSpPr txBox="1"/>
          <p:nvPr/>
        </p:nvSpPr>
        <p:spPr>
          <a:xfrm>
            <a:off x="8302857" y="744081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0E705219-8DF1-E15F-A3A3-AA60F9410C12}"/>
              </a:ext>
            </a:extLst>
          </p:cNvPr>
          <p:cNvGraphicFramePr/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3552804525"/>
              </p:ext>
            </p:extLst>
          </p:nvPr>
        </p:nvGraphicFramePr>
        <p:xfrm>
          <a:off x="10850563" y="3278188"/>
          <a:ext cx="9450387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5DAD425-84C6-D779-24A5-0A2D5751088F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9326225" y="34813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B16151-74E7-47F2-AA3C-5D2A8D7368FA}" type="datetime'''''''''''''''''''''''''''''''''1''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5622953-9B4A-7618-0329-F1795F77F86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1728450" y="352107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FA22EC-BD7A-4F22-8EF0-D474FD88C8EC}" type="datetime'3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05" name="文本占位符 2">
            <a:extLst>
              <a:ext uri="{FF2B5EF4-FFF2-40B4-BE49-F238E27FC236}">
                <a16:creationId xmlns:a16="http://schemas.microsoft.com/office/drawing/2014/main" id="{87176490-FFDF-F277-E4E7-AF23415CF4D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21824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B43AD-5E46-4CB0-9974-272BDE976E12}" type="datetime'2''02''''''''''''''''''''''50''''''''''''''''''5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5</a:t>
            </a:fld>
            <a:endParaRPr kumimoji="1" lang="zh-CN" altLang="en-US" sz="1400" dirty="0"/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457A8729-44F6-B21D-6B29-1FF04B51593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1295717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0EC896-8AF6-42EA-B845-E8CCE176BB28}" type="datetime'2''0''''''''2''5''''''''''''''''''''''''''''''''''06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6</a:t>
            </a:fld>
            <a:endParaRPr kumimoji="1" lang="zh-CN" alt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92C257F-32E4-F5BB-A2D3-1629371545C9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3895388" y="351631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E39B262-7152-4C95-9A21-A32CEE63B486}" type="datetime'''3''''%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3" name="文本占位符 2">
            <a:extLst>
              <a:ext uri="{FF2B5EF4-FFF2-40B4-BE49-F238E27FC236}">
                <a16:creationId xmlns:a16="http://schemas.microsoft.com/office/drawing/2014/main" id="{C706134F-EFF5-C8F9-A944-57775FD59A5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373346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EBAC9-D3C4-4CCC-AF00-9F656E3C9F33}" type="datetime'2''''0''''2''''''''''5''''''''''''0''''''''''''''7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814B706-B886-BF6C-10A0-593B78967F0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4671675" y="350678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51707DA-81E3-408C-A7AC-8512A2D4E938}" type="datetime'''''''''''''''''''''''''''''''2''''''''%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5D2EA365-28E2-38CB-57DE-43A1425E44D1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1450975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D9293-D0EA-4CF7-98F4-D58E8000BD8C}" type="datetime'''''''2''''0''''''''''''''2''''''''50''''''''''''''''''8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8</a:t>
            </a:fld>
            <a:endParaRPr kumimoji="1" lang="zh-CN" altLang="en-US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4D3B70-BBF0-ECB0-7E2A-E9166500B94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5447963" y="35004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95E99AD-E127-417F-B1C4-7861D394A8D3}" type="datetime'2''''''''''''''''%''''''''''''''''''''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2" name="文本占位符 2">
            <a:extLst>
              <a:ext uri="{FF2B5EF4-FFF2-40B4-BE49-F238E27FC236}">
                <a16:creationId xmlns:a16="http://schemas.microsoft.com/office/drawing/2014/main" id="{B7914240-B8B3-9D0B-9A15-A18B85066E6E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152860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D77A5-861C-4FB3-9126-82A377ABB169}" type="datetime'''20''''''''''''''''''''''''''2''''''''50''''''9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9</a:t>
            </a:fld>
            <a:endParaRPr kumimoji="1" lang="zh-CN" altLang="en-US" sz="14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25EFF83-41DD-63FA-403E-AE44C614B64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222663" y="349091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53B3182-EC9D-4E71-813C-086D1DD792C0}" type="datetime'''''2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66" name="文本占位符 2">
            <a:extLst>
              <a:ext uri="{FF2B5EF4-FFF2-40B4-BE49-F238E27FC236}">
                <a16:creationId xmlns:a16="http://schemas.microsoft.com/office/drawing/2014/main" id="{CF19A0F5-8DC2-A004-C71E-E0C671B4DFF5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606073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22EAEA-42D9-4A44-AE80-429D660A4DE8}" type="datetime'''2''''''0''''''''''2''''''''5''''''''''''1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0</a:t>
            </a:fld>
            <a:endParaRPr kumimoji="1" lang="zh-CN" altLang="en-US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3F22302-9415-FD4C-F80B-6BBD90DDE326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6998950" y="35020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57CF9DA-57C3-4943-8342-232469C5B1CD}" type="datetime'''''''''''''''''''''''''''''2''''''''''''''''''''''''''%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0" name="文本占位符 2">
            <a:extLst>
              <a:ext uri="{FF2B5EF4-FFF2-40B4-BE49-F238E27FC236}">
                <a16:creationId xmlns:a16="http://schemas.microsoft.com/office/drawing/2014/main" id="{E07A6B33-F939-2E3C-FB3D-FE0CBA55818B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6837025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D2F3-4DFD-4E50-BB8B-101F695C1F65}" type="datetime'''''''''''''''20''''''2''''''51''''''''''''''1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1</a:t>
            </a:fld>
            <a:endParaRPr kumimoji="1" lang="zh-CN" altLang="en-US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9698A80-7917-830C-2C4E-9C08922AC25B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7775238" y="3502025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513CFA-ADAD-460C-BC9D-C1A693DB8003}" type="datetime'''''''''''''''''''''''''''''''''2''%''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4" name="文本占位符 2">
            <a:extLst>
              <a:ext uri="{FF2B5EF4-FFF2-40B4-BE49-F238E27FC236}">
                <a16:creationId xmlns:a16="http://schemas.microsoft.com/office/drawing/2014/main" id="{07AC86F0-BD34-2648-4C6A-AE6E90A21A58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7613313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0087C-A5D7-4294-B850-7C3CB4424494}" type="datetime'''''''''''''''20''''''''''''''''''2''''51''''''''''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12</a:t>
            </a:fld>
            <a:endParaRPr kumimoji="1" lang="zh-CN" altLang="en-US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AD7B1FD-FE50-150E-6ED7-B6268FBC62AA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8551525" y="349726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BE37AD-158E-4B8F-B1E0-3F169A6DF70F}" type="datetime'''''2''''''''''''''''''%''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78" name="文本占位符 2">
            <a:extLst>
              <a:ext uri="{FF2B5EF4-FFF2-40B4-BE49-F238E27FC236}">
                <a16:creationId xmlns:a16="http://schemas.microsoft.com/office/drawing/2014/main" id="{F3D6E85F-B05C-9AA8-6FF4-163062A7795F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3896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53B24-97BE-4EFD-9837-2A1709B4D89E}" type="datetime'''''''''2''0''''''''''''''''''''''2''''6''''''''01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1</a:t>
            </a:fld>
            <a:endParaRPr kumimoji="1" lang="zh-CN" altLang="en-US" sz="1400" dirty="0"/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7E04E2DB-3522-ED1C-F459-60496915F08F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114061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B5211-81E4-48D2-B819-53A406F8CB11}" type="datetime'''''''''2''0''2''''''''''''''5''''''0''''''''''4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4</a:t>
            </a:fld>
            <a:endParaRPr kumimoji="1" lang="zh-CN" altLang="en-US" sz="1400" dirty="0"/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71FFEEA4-5F58-9643-08E3-09110F923D2F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9164300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78C35-2AEA-4F68-A4F2-E41884BF9AAF}" type="datetime'''''2''''''02''''''''''''''''''''''60''''''''''2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2</a:t>
            </a:fld>
            <a:endParaRPr kumimoji="1" lang="zh-CN" alt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A1F0619-A942-7726-E5EF-E31BD9941CF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9942175" y="3525838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30CA9D-4DF4-4C5C-BE9C-8195567E9058}" type="datetime'''''''''''''''3''''''%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95FE329D-AF13-7A25-9BA3-11A96BB52E8C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19940588" y="7318375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27B08-37A0-477A-9993-64B370906BF8}" type="datetime'''''''''''''''2''02''''''''''''''''''''6''''0''''3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400" dirty="0"/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935F03DC-9458-8150-400D-5F71A40EB158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20361275" y="354488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CC2ED-2954-4CBA-A83F-825D467967F9}" type="datetime'''''''''''''''当''''''''''''''''''''''''''月'''''''">
              <a:rPr kumimoji="1" lang="zh-CN" altLang="en-US" sz="1400" b="1" smtClean="0"/>
              <a:pPr/>
              <a:t>当月</a:t>
            </a:fld>
            <a:endParaRPr kumimoji="1" lang="zh-CN" altLang="en-US" sz="1400" b="1" dirty="0"/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62106EEB-CB56-9EAB-0C8B-81BAC2FD32E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20361275" y="4502150"/>
            <a:ext cx="1422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D19621-35A5-41BC-839B-7669C35C4E65}" type="datetime'''''''本年''''''（''''''''不''''''含当''''''''''''''''''月）'''''">
              <a:rPr kumimoji="1" lang="zh-CN" altLang="en-US" sz="1400" b="1" smtClean="0"/>
              <a:pPr/>
              <a:t>本年（不含当月）</a:t>
            </a:fld>
            <a:endParaRPr kumimoji="1" lang="zh-CN" altLang="en-US" sz="1400" b="1" dirty="0"/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8121D271-955E-BFF6-19C3-AF9DC479A819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20361275" y="629602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B5F948-0E8D-4AE0-ACC7-F075EE9F59CA}" type="datetime'''''''''''''''''''''''''''''''''''''''''存''''''''''''''''量'">
              <a:rPr kumimoji="1" lang="zh-CN" altLang="en-US" sz="1400" b="1" smtClean="0"/>
              <a:pPr/>
              <a:t>存量</a:t>
            </a:fld>
            <a:endParaRPr kumimoji="1" lang="zh-CN" altLang="en-US" sz="1400" b="1" dirty="0"/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F50BC67C-866E-5036-EA17-17474961D53B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1568113" y="32845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6ED131-D93E-46A4-B10E-068FA45C6115}" type="datetime'1''''''''''''''''0'''''''',''''''90''4'''''''''">
              <a:rPr kumimoji="1" lang="zh-CN" altLang="en-US" sz="1400" smtClean="0"/>
              <a:pPr/>
              <a:t>10,904</a:t>
            </a:fld>
            <a:endParaRPr kumimoji="1" lang="zh-CN" altLang="en-US" sz="1400" dirty="0"/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56E9C9FE-71F3-AF54-8997-F31082D8C033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218723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D61E91-D10E-4C4D-A54B-B142DC39AA33}" type="datetime'1''''''1'''''',''''''2''''''''''5''''1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,251</a:t>
            </a:fld>
            <a:endParaRPr kumimoji="1" lang="zh-CN" altLang="en-US" sz="1400" dirty="0"/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05BBBE69-CFA3-9819-E363-BB2865F491B7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296193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443546-83A3-48C2-A602-DF7337B82772}" type="datetime'''''''''''''''''''12'''''',''''5''''''''0''''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500</a:t>
            </a:fld>
            <a:endParaRPr kumimoji="1" lang="zh-CN" altLang="en-US" sz="1400" dirty="0"/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5A8A9293-BAFD-6C67-91D6-2E8B5F07C0DC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373822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9A495-D878-4BFA-A002-FA641DB6B675}" type="datetime'''''''''''''''''1''''''''''''''2'',''''''77''''''''''''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771</a:t>
            </a:fld>
            <a:endParaRPr kumimoji="1" lang="zh-CN" altLang="en-US" sz="1400" dirty="0"/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BA3811CE-B9B7-BAF1-737D-9ADC4B261AFF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451451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40800-FF4F-467A-B3D8-35D99C815301}" type="datetime'''''1''''''''''''''''2'',6''0''9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609</a:t>
            </a:fld>
            <a:endParaRPr kumimoji="1" lang="zh-CN" altLang="en-US" sz="1400" dirty="0"/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26AA0336-209B-67E0-E318-9EEE4988BB75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2908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AC2BCA-FA44-467E-B3F8-76323DB6D825}" type="datetime'''1''''''''''''2'''''''''''''''''''''',95''''''2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952</a:t>
            </a:fld>
            <a:endParaRPr kumimoji="1" lang="zh-CN" altLang="en-US" sz="1400" dirty="0"/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E5AED1B7-D6D1-0780-57D5-42205EE14ED6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606550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CE99A9-99A9-4119-97EE-EEAD3A8F6B21}" type="datetime'''''''''''''''1''''''2'',''''''''''''4''''7''''4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47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8A2ECFE7-54D5-EC21-BA95-6EBE62465AC4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6841788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0145D8-CFBD-4D75-8B49-A3DE87F3535B}" type="datetime'''''''''''''''''1''''''''3,''''7''''''''''''''''4''9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74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6" name="文本占位符 2">
            <a:extLst>
              <a:ext uri="{FF2B5EF4-FFF2-40B4-BE49-F238E27FC236}">
                <a16:creationId xmlns:a16="http://schemas.microsoft.com/office/drawing/2014/main" id="{7D9E867D-FCFE-A937-0D35-0B2084092D3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7618075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EE3F63-FF2D-45A6-8D09-EABECCBE4057}" type="datetime'''''''14'''''''''''',''''''''''''''''''3''7''''1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,37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8" name="文本占位符 2">
            <a:extLst>
              <a:ext uri="{FF2B5EF4-FFF2-40B4-BE49-F238E27FC236}">
                <a16:creationId xmlns:a16="http://schemas.microsoft.com/office/drawing/2014/main" id="{01ED8881-97E3-DFE3-9274-76DA0F6B4D22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8394363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B71623-7B99-498E-AB47-B2E114377654}" type="datetime'14'''''''''''',''''''''''''''''4''7''''''''''7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,477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0" name="文本占位符 2">
            <a:extLst>
              <a:ext uri="{FF2B5EF4-FFF2-40B4-BE49-F238E27FC236}">
                <a16:creationId xmlns:a16="http://schemas.microsoft.com/office/drawing/2014/main" id="{44F788E0-994A-C02D-BF14-46412500025F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9305588" y="3322638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D5B97B-80CC-4250-95EC-B696DFBCFE81}" type="datetime'''''''''''''1''''''''''''''1'''''''''',''''7''''''''''11'''">
              <a:rPr kumimoji="1" lang="zh-CN" altLang="en-US" sz="1400" smtClean="0"/>
              <a:pPr/>
              <a:t>11,711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2" name="文本占位符 2">
            <a:extLst>
              <a:ext uri="{FF2B5EF4-FFF2-40B4-BE49-F238E27FC236}">
                <a16:creationId xmlns:a16="http://schemas.microsoft.com/office/drawing/2014/main" id="{CB212BF4-07E2-78EE-1EF5-A01C3E372851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9945350" y="3330575"/>
            <a:ext cx="547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0A22DD-E289-4068-ABB1-78E8E7DA078B}" type="datetime'''''''''''1''6'',''''4''7''''''''''''2''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47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EE990F1-85D4-F839-F18E-D048C9797DA3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12344400" y="3516313"/>
            <a:ext cx="231775" cy="165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indent="0" algn="ctr" defTabSz="1630832" rtl="0" eaLnBrk="1" latinLnBrk="0" hangingPunct="1">
              <a:lnSpc>
                <a:spcPct val="90000"/>
              </a:lnSpc>
              <a:spcBef>
                <a:spcPts val="1784"/>
              </a:spcBef>
              <a:buFont typeface="Arial" panose="020B0604020202020204" pitchFamily="34" charset="0"/>
              <a:buNone/>
              <a:defRPr sz="4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416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5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0832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32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46249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61665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77081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2497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07913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23330" indent="0" algn="ctr" defTabSz="1630832" rtl="0" eaLnBrk="1" latinLnBrk="0" hangingPunct="1">
              <a:lnSpc>
                <a:spcPct val="90000"/>
              </a:lnSpc>
              <a:spcBef>
                <a:spcPts val="892"/>
              </a:spcBef>
              <a:buFont typeface="Arial" panose="020B0604020202020204" pitchFamily="34" charset="0"/>
              <a:buNone/>
              <a:defRPr sz="285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F0A73E-0B2B-4F38-95D9-2F0B0C4A3DDC}" type="datetime'''''''''''''''''''''''''''''''''3''''''''''%'''''''''''''''''">
              <a:rPr kumimoji="1" lang="zh-CN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42" name="文本框 241">
            <a:extLst>
              <a:ext uri="{FF2B5EF4-FFF2-40B4-BE49-F238E27FC236}">
                <a16:creationId xmlns:a16="http://schemas.microsoft.com/office/drawing/2014/main" id="{152156B3-F1A5-0514-CAE4-0B180845CFDD}"/>
              </a:ext>
            </a:extLst>
          </p:cNvPr>
          <p:cNvSpPr txBox="1"/>
          <p:nvPr/>
        </p:nvSpPr>
        <p:spPr>
          <a:xfrm>
            <a:off x="19182730" y="7467463"/>
            <a:ext cx="543739" cy="409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新年</a:t>
            </a: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A8E07FF2-B514-9002-49BD-C213F3548507}"/>
              </a:ext>
            </a:extLst>
          </p:cNvPr>
          <p:cNvSpPr txBox="1"/>
          <p:nvPr/>
        </p:nvSpPr>
        <p:spPr>
          <a:xfrm>
            <a:off x="4114065" y="7861856"/>
            <a:ext cx="215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分区</a:t>
            </a: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B10A3C85-A00C-7487-1F44-6A6FCB86B52F}"/>
              </a:ext>
            </a:extLst>
          </p:cNvPr>
          <p:cNvSpPr txBox="1"/>
          <p:nvPr/>
        </p:nvSpPr>
        <p:spPr>
          <a:xfrm>
            <a:off x="15462290" y="7791231"/>
            <a:ext cx="2618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占比变化</a:t>
            </a:r>
            <a:r>
              <a:rPr kumimoji="1" lang="en-US" altLang="zh-CN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-</a:t>
            </a:r>
            <a:r>
              <a:rPr kumimoji="1" lang="zh-CN" altLang="en-US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百分分区</a:t>
            </a:r>
          </a:p>
        </p:txBody>
      </p:sp>
    </p:spTree>
    <p:extLst>
      <p:ext uri="{BB962C8B-B14F-4D97-AF65-F5344CB8AC3E}">
        <p14:creationId xmlns:p14="http://schemas.microsoft.com/office/powerpoint/2010/main" val="2168500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07A96A-9808-9DE4-304D-F1BBF75FA52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916405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0" imgW="7772400" imgH="10058400" progId="TCLayout.ActiveDocument.1">
                  <p:embed/>
                </p:oleObj>
              </mc:Choice>
              <mc:Fallback>
                <p:oleObj name="think-cell 幻灯片" r:id="rId5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62CA176-F9D2-566B-5D16-AF20E57CF81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120955"/>
              </p:ext>
            </p:extLst>
          </p:nvPr>
        </p:nvGraphicFramePr>
        <p:xfrm>
          <a:off x="2343150" y="1966913"/>
          <a:ext cx="7205663" cy="417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12B909F1-C9E1-1C91-3A8F-3B3B062DFF3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9504363" y="5637212"/>
            <a:ext cx="79375" cy="127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C17F0F03-BDCF-BE38-6B82-751CF330DF4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9504363" y="5394325"/>
            <a:ext cx="793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F06A1A-42AD-CFB3-5E9C-2934B2CFB9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8098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5D5A9-D219-40C2-9DCC-EC90ED04BA88}" type="datetime'''''''''''F''''''''''''''''''''''''Y''''2''6Q''2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9DB5FD37-0A8D-4505-2551-C7550B9F8E2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389313" y="2397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23760F-1A6F-406E-9F2C-4A15E574B500}" type="datetime'''''''''''''''''''''''''''4''''''''''''''''7''''''''2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2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2A542FE4-9BDD-4910-941E-659E8264EFC6}" type="datetime'''''''''''''''''''''''''''2''''''''''''''''%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FECFE190-4C36-B8E3-FF6A-949F2F7FB98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43275" y="29670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A132-FB36-41D9-92C9-558CACD9633B}" type="datetime'8''''''''''''''''''''''''3''''''''''''''''''''''1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1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F7A6C5A-325E-49C1-856B-E1877D2AF104}" type="datetime'''''''''''''''3''1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5CD19A4E-9CA4-25CD-4058-DE7FB184BF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325813" y="465931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949B4D-434B-4C7B-A30F-F2FDED43AC0A}" type="datetime'1''77''''5''''''''2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5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15E4A585-9D36-4982-98C5-E2A8820BA2CE}" type="datetime'''6''''''''7''''''%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0C9D4FF3-C642-7832-37A3-58CC8CE22EF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5464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C152A5-F8FB-464C-99E7-615D8F20BD14}" type="datetime'''''''F''''''''Y''''''26''Q''''''''3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CC93D4-84F7-D3B6-A495-8791213A552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125913" y="237331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2DB88-7646-4ACA-B457-A56588D0FE3C}" type="datetime'''45''''''9''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38614770-867E-45E1-A51D-8B406F6D635F}" type="datetime'''''''''''''''''''2''''''''''''''''%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A4C40AFE-4A77-BF87-065E-7BD742D6280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79875" y="29956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0E42E-62C3-4265-B2CD-0C7317CE012F}" type="datetime'9''''1''''''''''''''''''''''''''''''''''''''''''0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671376D-EDBC-417B-9A6F-B641BCD34F44}" type="datetime'''''''''3''''''''''''''''''''''''''''''''''''4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7CF83D29-452F-73C9-CA22-2F5E720E158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062413" y="4699000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93ADB-2677-4E3E-A7B3-C835061E3A43}" type="datetime'''''''''''''1''''''''7''1''''''''''4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4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FBDB30D-29AE-422E-AD39-8B1F742DED5B}" type="datetime'6''''''4%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69324599-F8DC-2983-482F-7D63DF5BCA6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2830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C04A7F-FEA9-409E-9B3E-EF2554F642AB}" type="datetime'FY''''''''2''''''''6''''Q''''''4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3143E29-048D-6171-9178-E393335BF9F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860925" y="37623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4BCF6-DEAB-4A51-9366-9BB4ED51DA3F}" type="datetime'''''3''''''''''0''''8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954F1F31-3608-4E67-9E83-3F079D7889B3}" type="datetime'''''2''''''''''''''''''''''''''''''''''''''%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BC3B01E8-7913-8442-21B2-7C0283660F4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814888" y="427990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77E66F-0659-4079-A4F2-5DAF52C1F01E}" type="datetime'''''''''''''''''''''''''''5''''''0''''''''''''''37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3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0B2C5E2F-49B7-41EB-AED8-0715E6C78175}" type="datetime'''''''''''''3''''''''''''''''''2%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9385AE8E-6F88-4E54-76CA-E2AA0CDCEC1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797425" y="512286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E7D70-C24F-4FC3-A564-5BBA05B6E53D}" type="datetime'''''''1''''''''0''''''''''5''''''''9''''''''''''1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91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7FD82E3-BEF6-4315-BBEE-BD5958C6C272}" type="datetime'6''''''''6''''''''''''''''''''''%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36ED6B0-2B76-6224-C966-1D6947D7115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018088" y="6116638"/>
            <a:ext cx="619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CE17A6-AFAB-4012-BDED-D90247F9F23A}" type="datetime'F''Y2''''''7''''''''''''Q''''1''''''t''''''d'">
              <a:rPr kumimoji="1" lang="zh-CN" altLang="en-US" sz="45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E9897592-6BAB-13B9-6ED5-29B93468CBA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610225" y="42640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73ECB7-B639-4509-A6A0-5C77235CC33A}" type="datetime'''''''''1''''''''''''''''''''9''''''''9''''''''''''''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7ACBF5FA-6F9C-4A44-9B3A-F86286178C26}" type="datetime'''2''''''%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1B780CC-22A2-5DEC-4866-B8E4BA773E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570538" y="49482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6BD001-ACC3-451E-9DF7-DC87A32F6FF0}" type="datetime'''''''''''34''''''6''''''''''''''''''''''''''''''''6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4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059F0C6-B95E-43DA-AE3C-379942F400B0}" type="datetime'''3''''''''''''''''3''''''''''''''''''''''''%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3340FA5F-E14A-2CEA-8490-561FCEE59F4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551488" y="53657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6BEEDE-B16F-42FF-9740-700145EB16A3}" type="datetime'''''''6''''''''''''8''''''''''''''''''''5''''''5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5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836AE71-A77D-49FB-8948-3FB3A3F4A9ED}" type="datetime'''''6''''''''''''5''''''''''''''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4114930B-BBC3-C272-619E-F5E6E4CA48F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5754688" y="6116638"/>
            <a:ext cx="61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F0629-687E-470F-B43A-5A5E42603547}" type="datetime'''''''''''''''''''''''''4''''''月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id="{FBA6EDAD-B751-E7B1-8846-16C17347372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367463" y="4652963"/>
            <a:ext cx="376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85B773-E9F6-447B-92E6-D00C8860FB8E}" type="datetime'''''''''1''''0''''''''''''''''''''''''''''''''''''''9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9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18ABC5-BF60-4BFB-9826-0371775A1F76}" type="datetime'''''''''''''''''''2''''''''''''''%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4DD91172-272F-B0C4-EB6B-F0A4A3DBE74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288088" y="522446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36CD51-1AFA-4FCF-A347-B7D6A056F1C1}" type="datetime'''''''1''''''''''''''''5''''''''''''''''''7''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1</a:t>
            </a:fld>
            <a:br>
              <a:rPr kumimoji="1" lang="zh-CN" altLang="en-US" sz="1400"/>
            </a:br>
            <a:r>
              <a:rPr kumimoji="1" lang="en-US" altLang="zh-CN" sz="1400"/>
              <a:t>(</a:t>
            </a:r>
            <a:fld id="{18D5B27C-DBC8-4D56-AB7C-D7A6F4C5ABF4}" type="datetime'''''''''''''''''''''''''''''''''2''''''''''9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B155A68C-E29F-62E0-D48E-6AFFEB3762E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329363" y="5676900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B8182-72F5-4B54-BB63-7F551B105747}" type="datetime'''''''''''3''''''73''''''''''''''''6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3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47505B2A-215B-40E7-8943-CDD8A610EABD}" type="datetime'''''''''''''''''6''''''9''''''''''''''''''''''%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783B3B8C-6AC8-D0A0-EFC4-B8E91E907CB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84488" y="251936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CBA233-5DB5-491A-A284-EFFAED1D9C1B}" type="datetime'4''''''''''''''''''1''6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FC1DD981-1F6A-482D-8292-04DE31514E43}" type="datetime'''''''2''%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B10DC4BF-CDD2-C601-9C55-BCA05B0B3C8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070725" y="5526088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07E3E-6007-44E2-8331-26DBAD325941}" type="datetime'''''''''''''''''4''''''''''''''''''8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837213A4-10CB-445E-AF81-5EC6A25AD7E3}" type="datetime'''''''''''''''''''''''''''''2''''''''%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86A5B031-4C68-9232-8F13-AD070C6CC7D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70246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CB51F1-AE9A-42D6-9CDA-18256D088C88}" type="datetime'''''''''''6''''''''''''''''''''''''''''''6''''6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7EF97E5-8B3C-4DA5-BBE3-0C547E0E0CA9}" type="datetime'''3''''0''''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76740F35-9AA0-FC91-A60C-C7366433006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024688" y="57134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67C90-E07B-4C4C-A0C5-6AD1F572CAAF}" type="datetime'''''''''''1''''''''''''''''5''''''0''''''''''''''7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FA1FAAC-A016-4015-8CDC-AC620B07DE42}" type="datetime'''''''''''6''''''''8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543A2D25-101E-0C73-CADB-283452873F0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227888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5CC451-D896-431F-94A3-F53565E7A24C}" type="datetime'''W''''''''''''''4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1B45824F-886B-FA7A-F8E0-978A0FCE2D1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05738" y="549275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3C5F4-8CFE-4535-B665-F98A56F846C2}" type="datetime'''''''''''5''''''''0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7A97E83-93FD-49E0-984B-7D6ADC4E5574}" type="datetime'''''2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6A8EE188-914A-457F-A989-65E7021DF0B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759700" y="555307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3F3E4-28D9-4F1A-94C3-2FBBFE9E622C}" type="datetime'''''''''''8''''''6''''''2''''''''''''''''''''''''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DF12AD-0A30-4D0F-BE0C-D889D2BBCEC6}" type="datetime'''''''''3''''''''''''''''''''''''5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4C587DF8-D833-4D56-C613-9D39A70A3B2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759700" y="5710238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7FA23-5D00-4C12-9021-CB774DBE1C43}" type="datetime'''''1''''''''''''''''''''''''''''''''''''55''''''''''''8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1C52793-B4AB-47A7-B62C-3FC86FCCBACE}" type="datetime'''''63%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7167401-64CD-E4CC-4FA6-E13496F55C4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9629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9E9A14-3C58-452F-A83C-4398C37DCAAE}" type="datetime'''''''''''''''''''''''''''''''''W''''''''3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85CA3CC3-8C1A-4F5F-919D-2EAE21C3AA5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542338" y="5445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39ED2-B13B-48DE-8BB8-08548322F34D}" type="datetime'''''''''''''''''''''''''''''44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DB3D7E92-F2DA-44D4-809D-BF0AEC1C7933}" type="datetime'''''''''''''''''''''''''''2''''''''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629E1E1A-092F-2939-668A-21533DD7342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96300" y="55197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B81EC-9FAE-431E-B8DD-E6A1F2390BF5}" type="datetime'''1''''''''''''0''''9''''''''3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3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8E8ECF1-1BEB-48B7-91FD-D823181B30E5}" type="datetime'3''''''''''''''''''''''''''''''''''''''''''''''''9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2DD4641F-06FC-5665-FB46-1BCFF2FFE54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496300" y="57007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003FC-0144-4FFA-B56A-CAF1A090D85D}" type="datetime'''''''''''''''''''''''1''''''6''''''9''''''''7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89D67D29-8858-4121-8A03-EC1E3AFC6ECE}" type="datetime'6''''''''''''''''''''0''''''''''''''''''''''''''''''%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1D66EC20-58D9-3B63-08CD-98B76F39C9E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86995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4E3DA6-579F-4DE0-AA7E-3682293FD3D5}" type="datetime'''''''''W''''''''''''''''2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8A968BC6-E9A5-E582-03EE-94AFFA7F44D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045575" y="55276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684FC9-948E-430C-A80B-39EC846BEBE2}" type="datetime'''''''''''''''''''''''''''''''''''''''''''4''''''''''''''6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EADAE10C-FC71-4AB2-A692-546B14297778}" type="datetime'''''''''''''''''''''''2%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3" name="Text Placeholder 2">
            <a:extLst>
              <a:ext uri="{FF2B5EF4-FFF2-40B4-BE49-F238E27FC236}">
                <a16:creationId xmlns:a16="http://schemas.microsoft.com/office/drawing/2014/main" id="{3376C2FA-E8C1-B070-6FDC-FEDD6419F3BE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89550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3D5C9-8896-4F52-B5D7-B58DA6862277}" type="datetime'''6''''''''4''''''''''''''''''''''''''''4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4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DEA0B62-9CAE-4F77-A693-E59916C374B6}" type="datetime'''''''''2''''''''''''''''9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0E7CD9A4-6EF0-3734-19EE-21E341E2833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955088" y="5711825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43B86F-3C54-419C-BF98-EF761EA51594}" type="datetime'1''''''''''''''''''''''''5''''''''''''18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49DCEBB-3AFF-4339-B8DE-B84C60042633}" type="datetime'''''''''''''''''''''''''''''''''6''''''''9''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E0CAF33B-A6D6-11EC-6CCD-87C25D3D88D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4361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CEA597-E199-440E-9F1D-DCB2369F43F4}" type="datetime'''''''''''W''''1''''''''''''''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86449856-8A40-D144-FE26-21E54A84AEF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609138" y="5299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ED7B7-8E6E-41D0-8524-C36D5D01A914}" type="datetime'''''''''''电''''''''''''''''销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78C69A48-C03D-F338-DEC2-BB2FB17697A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884488" y="4695825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29A1C-80FB-4E45-8280-F771F819FEC4}" type="datetime'''17''''''''1''''''''''''''''''7''''5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7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742AC088-3B3B-4736-BFA3-D3B0AE6C3882}" type="datetime'''''''6''''7''''''%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032FF42-CF99-802E-A8DC-76B30599433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09138" y="55419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4CDF7C-0902-437E-89A1-EB1DDAC35897}" type="datetime'''''''''''''''''''''''渠''''道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27254177-9CC3-7FE7-CCD4-47C2146C743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884488" y="30638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D260EA-7A9D-457E-B5D8-B02027014412}" type="datetime'''7''''''''9''''''''''''''''''''''77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7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5F6FD88-CA45-46F2-9D6C-6638B9917950}" type="datetime'''''''''''''''3''1''''''''''''''''''''''''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2D04BE7B-EDBA-2E81-5527-4DC1EDB66BC6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609138" y="57848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C2C59D-273A-4C65-B5C6-86CA971BD1D4}" type="datetime'''''直''''''''营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62157E72-2F64-BC88-86BE-DA456C88E8C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491288" y="6116638"/>
            <a:ext cx="61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5DCCBA-9826-43C3-9252-459C9FE537D6}" type="datetime'''''''5''''''''''''''月''''''''''''m''''''''''''td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pic>
        <p:nvPicPr>
          <p:cNvPr id="275" name="图片 274">
            <a:extLst>
              <a:ext uri="{FF2B5EF4-FFF2-40B4-BE49-F238E27FC236}">
                <a16:creationId xmlns:a16="http://schemas.microsoft.com/office/drawing/2014/main" id="{EDCF5D3A-B3ED-ED50-3BE6-A6F4FC54040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4375">
            <a:off x="12822345" y="5798291"/>
            <a:ext cx="1337783" cy="68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92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1000229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4A&quot; g=&quot;76&quot; b=&quot;C6&quot;/&gt;&lt;/elem&gt;&lt;elem m_fUsage=&quot;9.00000000000000022204E-01&quot;&gt;&lt;m_msothmcolidx val=&quot;0&quot;/&gt;&lt;m_rgb r=&quot;48&quot; g=&quot;73&quot; b=&quot;C3&quot;/&gt;&lt;/elem&gt;&lt;elem m_fUsage=&quot;8.10000000000000053291E-01&quot;&gt;&lt;m_msothmcolidx val=&quot;0&quot;/&gt;&lt;m_rgb r=&quot;49&quot; g=&quot;75&quot; b=&quot;C5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h4_ZXwz5IhisCvPjAbE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.IqlnsGqdBd..1bb.y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elbCU1Zc6WbmyTgsJo0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gJXme3U09r7Cq2Qe0uE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3HHlxyi6inRmKsdd98r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_CUN9TUf6c.ENAzyrJ3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.mblGxAJ_7TqHMbfXdY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_L24sI.viFXBU8Fh0RG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b_DKjITObIG0SLWTRJ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DUg3o7OacUVMx4f.Om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8Udr0or_8TDPQJmo0D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ywFSV5OT4uX8g5K.p4p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YXxNk33vy94QHLlBY_A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7BDblk04ue7dL8qimos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PW2dbTx044Q8PERpAJH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bNqQbtAuMX2g8GJ6XZ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t4eWuTmb43t_qOKR72j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qYCEa7ZdpSEyVEEuhtK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16cVbWpHTKQam7IRBRYg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z_gRBIXNhTleuRR7I1Q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d6Xe2hV9gOBXyBVsK_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jj_Z0tKH0wASVmkWb7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2jaPMj5V5XJ6chlJtH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PI89JtUJaHlMGISau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9dlb4phu77YB_0FMCs1w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YUzgULAQj6QkLgi4N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wbcvNUoBCWTaMiUwumo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U8XCTWFBs1GOhwYyOt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yWk80yAWUiBSD4GX6f9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BUBz5TFzYKo_d1y7YXAg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vr51hOJkk1HTRY558s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qEgDhg9zh7T6UtSoAJ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UF3Bgx2AaSRbdXvUdq9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KkTxNTzd1o4TCqobx1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objcPUiA0REThyTowZ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nC3b_zIxZGf2n09nC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EAu1DlsusN5IUTbxjTK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8ofNfU6tm6S1WFwMeYQ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BJBassr_dx2ghdGfqz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92PIum5h4u3RCk.7www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Nwjq_wS4eIUyESvxOe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1uRKs9wwJXZCIea1LwC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DNl_fPTk5JeejihSHf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WmsQ28mUtvjGZHY6N5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7WCHtPHcx.vjUl6SGmy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pqLdJzLMRuhkqd9x7r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4Nm6.bBBAYnh_dKhKhB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Bt2J1m9pLMBKb7DsW4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ZY1gYYMruLQxBnFAGq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_l8NN92RGNKT4.IhRg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jUSnac3X1Bog1hi36BC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QRfQOQN_iWA7KrRKEsg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SL.dJX_c.NGyqDrNrXK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IHWwp.LX90egv3VyUdw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qnp7vGjbiYp4HWCAQX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DGVTU6_K7Bbom84.Qxj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TsM096vsyky1tUrQNRq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bCdhw2sKW_4.G9SLx6g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PP_BTVrd1QJ.urumtP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I_xfi8GGQiDXuPaRe3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oxJI0.tksOPUz1w9LfCw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BidCG0c9jWrRNcI_Ei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Qec_g4elhsBYG0Iut7a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X_rvvw0ZMCSWcq9MuGDw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qKhJvTZTHzlJ0VG1Fvv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AnOShJrFYQ5.1sYC7.W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fYk5Jj1MN0Biy36VYASA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sOVU1NZtTz6xmE0r_N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xgfxGojUq1Vsc34jwk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3Z7y7YcrAoTvIWtepX4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dhClJqMkWMWN1xWcLyJ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qZ3VOEMRhfJDosQYwpLw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9Foq2S1FDLPmoFosp3w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Nh2t0w_oDdjC6EUbeU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QpTIQSKUpTTOzmTo55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Y.INAU3ZqMgNPLtRS7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h7tNrNYtFjnn2s_YC21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SRq4M2uJXwuy3yCQlGa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F8yWIR4gNc9F1H3zSWo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U7YmYa6BTGjsWwdMfO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zZE_dVSKtxLsvg1kbh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jEfsknkJDWHiw4PysH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sCnyj_WS2Irw5dTWSrT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OAFbOCfXlN5CdfB_cWg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tGCPfu0kEREiv66FvqNg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Wenzvlb11IAi.dMxmnY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pxzOlWhl2oUYVcTjHtw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hyxTx_QQE3QPaFEJkG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MRUjELJDlJjDrXJ.sa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ce3Zs_yRphoH_yqx_W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x6Dbtzhv4fUlly29v6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2toDc01wSHxB6lBWY0g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Ed3s5rMrSRKQ2cLctmwQ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5KUy.SbmpAHMCrrymhk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WvqvhS2PzVumxiYEJow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P062Stl3wu1AqW_5Xag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mx5DQ9d8z910BQhuy0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Zvm_.oosDWe40Jbm6OU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UDsfmpiPE3_lV8aDBRg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laEqA75lZi390sG3kn1w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gZXRV2cTe9qSwSR9L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Q.p3Ou.wzmKFSCY2dSx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y3jSn0Otk3L40HwJsk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klRtkpj6u3X49Q1wNHTg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adH42tc2Dd1cKHdBKbw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agXh1jB65cjFKkcpIEw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ujg3XxQw.czqh0sXimHw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3LfEjxy6s7sGpdmde2.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sOoAmqaskwPtl786Q1E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GDY0a9obM9myOjO3l2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rVohRIWyMtToWLFo5zw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NwFGwu0hCYaVO5Tiey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24dvU02pwmSIgSPl65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AGZIZ0ru6rl1eG0eSaA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gqcCKtrq3XK8YQOE20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UBbKK6tn9wA1FufOTC3g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T7oboHnBorJQtb2HmVEw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Rv3_W1YIcWfDdqd9wJs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W3_cUHNO.kPS8jCN5Fmw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VOkC2Hqce8IhfP3vaTg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kvkOCXN9kyKMaAsXCnmg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8E6Pdv8w07D8Poq0dsg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4Z._E8uO_cStmSbXy6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xFf3Cc5nUlPkTD3ta7g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4.VviRvTLoznnqc5aaQ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_kF1oZ08pZdOJnMDbMc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bmOO_ZSoneW2tCI6Tbg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dkHr2knyhxe0Ohn4Cq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jKN1.ElQ_hE7Ig6ryRA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Vsg7t__JJjHOg8QeVtg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siKOpjZhL5vPNzT0PLwA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mh5tQ7BTAneaUacLXyQ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UARX_ucvvyZvBSjyeyg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9NFN9X_NScMkDaVbT_k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3DoHYlG8g._Ei6dJQ7w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OinxW.uGtmpkjxknjKw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XL_jv86wxQ56eZQQv.w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qG1F7plx0lft.NgvjBc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TGIvCvWEiB2HjxfmYNrg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FbNQQN7F1sisx2OECfw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yaIO6jA_18J9.zAzzr4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3qjOmDZmZuZ_tAYIEy4Q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dNxcGt6wllw6D_2eJkC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fse2HPi3DkOBxGGSB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pWR0ZxNdbqhfofLphvQ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ekp_S5o8N8YxEUmewG4Q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VADCqlPzxOpbQPxfiNgg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r358Tlf4Hw0fsONECYEA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5KjdMlC8d9WsGzAwto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oJsQRVnMEVete67VDZ3Q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NmEnZeXI__stR1XqB4T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BqFcIgvwYqiujnQxIkVA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iTVElD9sC7Q8eWZ6KeA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jn2rYMKKmuexs2A2VMA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miZG5hs9CDDs6G0r2c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8Ch8Cd2mbPlS.kNYO9k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5S2XVIfu_47XK.N3qIkw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ZKVAhhv3fVvy7YC4.6QA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m4XuAlL_3kMmn9E1zFt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_DtUEPRpblvOTgpgu0w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gwWxEC5rz07eGNKpwfPw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4EKylXb62uGNi3slzt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escE8PkTLYYrY_XCl3g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0j42Y4VVRIAVBxUZODCQ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j2iMWBd1ePnouIbgc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KML1t3pMcf9SAyfjOog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4ebCB1E3e7vDgzVIVyWA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fIf3Lc_3vw6HYjsTBP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lHjjPj4y.k4QWqXFRaA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UMVd4bsCffhr5DSn_B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YKDN9hm2l1oScfb26lw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r5X4Ur9iNpMye34rexjA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WHU9w37xjNOk5IRM06J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fZ_4vhI.z4OWzhnyP_w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8SK0ZHNxWBlg9_RRes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4kHjNs.EPsIhbFkQ7og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TuvGCcxahCbcMRaWD1FQ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bI47rEoQwQmempUs7W4A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qxV4wETsSICWUrs2Q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Wzu_J7EXg3K8D.h_WtA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zhGTSpPjub6xfssDuDWw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i8z0KDUbUV8PlQ7tQzg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oFm1sXRaY5iVu8jhZY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AWy3u7Fv67PWJ70vneg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Bcbb83pebXji1IWRaFQ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gWQUZTpYKirEdQhCF_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ng4bNuOqRYRryE6w1Www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FkNNAjzBgIujKg7KV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tsxoSy3_cNf1Qt6gbk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flCdA8KnF5DkDKUaf1w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CvmmTfA1lkzzmBEuTJ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CvsdnSbPyVKWdb3S1R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H7xYueKD.g.TSvq.vp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ZdM0rFeWL3UbNwZZMd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.YwW8J1Jb_8vYqQXYRBw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xtJm57oHAq_nM6Sr6U0g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LJ2.qyM8m4Zv5Lb96DA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2c6js2J_wONNzNuRNJ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2gnBV9hNCAfdJPVOroA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0.YzAA2xc8HNsruQ3kYQ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S_YzJ5VYAw4ZQ5EH_yA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nJI.bzoRVU7gKSA1r2dQ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P4d4JdE5S6Rz7AHhSD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85XHrmFd39WuZxrwoUw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uS6o6hFcyPPIjIEXFkg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BIV0qBQmxkBnQerv8O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mzst24zFKzszUth9XZg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cOHGM9k4uuP0w4UWD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2EaCf8Wrcjh_J0GDmTw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_sxPrxoeV64lTvPrmOQ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hVak4MkxBsZ7brrPm8w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62G6VwsO2Ho7k1Sl.wcQ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VcUSb5lpmuntbx7xVr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OUEEMTKwtt.mGi4i40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cefTKKq8EzsNBhOCW1wA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7LgP9ojV5TU_PlIgUr8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eT2G3PRHLBDrKcQvE5g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hcpXVguDmDKhI6Wmq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8zSIi4Dj_sZPHNGfxu7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0sJlJWvmIpoGVDrCuJsw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RnWxkkEega4RuDNZOKg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KcYDCW6OWexZYmNyg7Q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sxk8.DnBe4mwj6DXcw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W9emeJ_8EQta_98DpsX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Z9bCDJJgbU3x0RcXgR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j8IjggkqEzjC_ZzeBY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83J3KuMkwq.vFGVBcWx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43E2VDOukKAd0QIUp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0kDTLnPrCl831eag65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maAAAL0LVatsQPx2DEg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1CbOjXriHITIVfKZejfA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ghSRa7fDAQ0H3dcvo3eQ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flUsx9EL6sly_KL6iKrg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iZgne1XJJFnJGO_Bj7Bw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0nro3NqOFzfC73mvNqq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QWarLGFzzHJTMWFDx04w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RDd.RhfVG3p._ndDWLp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Va2AQQ3Tt6IsgXnvGzp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F_lGXyD_fFIFkfmfLMg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3.HqvsOysm1M2P0FSgg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1KYJjkJ16XInaZcgsyQ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5NBvGIkVILQwwXKUuY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7Zx7mEgpFs0kDEcCrig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QerHV8fS9cTOtA2ezg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xSTgXI.EFlbMU9qPxsew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frgAsZoO41SvZb01ERw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DHDv.cE6NM1Z9Xmt8bQ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pU7go8d2SH2R8EokPAo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WSZ7aCdYKPTGU7rJ19cg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nAW2UCaaKLzT99npPVg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3wWBgu91sB0mXBFq9m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R.R_luVAMTzHxtL2SCg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66_iYZcmio8wpxB5TsQ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_jpgLPkUytMjraC5Ufg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qmo_npq6rEDEolnaefQ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9pnecFqBIErRHE_jmbng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VjA.hXAZmqTyNWOsdjnA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JXCmG_3BvaTLQyBeBL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qb.nVefLK3mX92bEaFWA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kFnx27M.aNCDmJHLgdA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boqGYF3oqpt7hrxs6Bw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.NMrVV3ri57c3TU3Rz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82xiCIv9nP8Pm37v0.Q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IUK3Vk8UCrDptfdiDpg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9WZdzm3oUtFr_bnpvEw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v2dNagTd01lDpU8L_YHw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B.PSGojH3bFzQAGbZvg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_SKY_5HrgGW0T64fbcZ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gI_Tpf1ctv_0cT5.4xRw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_iZB_e5iVb8pwZtaZvA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T8sN6qvneM.q..xG_Fg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11jWciUVcx9FXitYaixg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y6OsESmTtIdGPAAUhnA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GpNn1Ik4hwH0nvzR9dA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3xef9kjAuWR6YWTdAB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Mbsqu3v97.HrXOX1.Rw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rf9Q5qEMV6L_cd1pDjg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Di7SOjrHmAZ4nLSdHXD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NcL9ReuLAoIgSSWj_JMQ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NknBO5NXFYzr5xG.ffg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PCmqIDnDAnIGdKdF6Bg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YfvOxNny6oKbZ1Rjw7Pg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KxfzzYFzULF5WRdVUyQ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S7Jl5Y7H2..NOrrOrTA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j3AG.6v8YHDlOZAysSXg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sxL0CyNeDHx4._37zfX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nmzIZJRYfMZpR5grLDK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m2GVbm0J9VpcNjZMhCY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MAdjsPVxhVOBAduR.Og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8SuCpBlATvMSqIfN_1w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JeDs49KSP1.DnSQmzdQ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mBorpVA6tX8c0mB781Q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nAW.U_9omOjpLLsXGE6g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H6y69e2VO1bbB._SAPg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y86pmdl8qfB1sE0.B54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8gw4sPVotTQwguOgjbg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r0iIkc.b5fGdJirxMRQ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F9d8lNrBLhF7GektsZr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Lw0sihada2FXycQkqCg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pLnRm6dQbEY_195oOc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uEpYj_.GRPXaKhZ0t_Q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y9CtR0VrjrJ68Bad6mw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4nDK1oqawF.BqbjqJMeA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t_Cew_I2BTli3QNWqpA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7NmSyhomZfjEWTJ9L3g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6q7FME1Gtf4lPbu3H7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PUVSbSyBhLYuGy38ToGg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01p4Va9vyyU1SfBDpq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pNSSqBmKZ8SmHaxvUUl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RBSB5JxIY9lp4pvV540A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YDcyu0VoZKpAtq2M7d8A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ngI7I.peoUAFMmBZL8Ew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dpXWZYb_GxBlVjXh5vB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V6czN9rPjrLzg8xIv_Q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4eHBgktJfT5szBM1YaQ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SAdJCvcRKpHaYmWnUh6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3IM0qMhbwvH4B7RXd9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qSqXm0Q3JaLsXPLwQgK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ux3jTf6pNdZ.Mv58N5u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AfPE0WOjvgw9sGJF7kA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Mfs99UzcXne9_YwDp4A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dPQrmc5Dh0.Epfnb1gHQ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liHrSfmdxlKmUnEI8iwQ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28OGsuZ9yvu7c1Q7K3A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bx1zXoeQmfV8.7ZaUnQ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..mYFYoH.YG7I5hAY2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WR_axZlbe1ZH2wEaBXQ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ZbEQ0es72DnbxgdcK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.sTa8ZcET6QT8SrBH4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MlkxSGlD3rg91sAIOAA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2ScjJswojkRx7ntniabw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PpnVY9IeOFUxKwLtP1w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ku4xCL77wC8FdMOD.cdQ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nLpkAkjw3FK8y5LRExw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DAH_QGM2vq.ZX4She1s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PcA8KI_6NBEdKIajbo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rMXT2382TCNJz3xm9fQ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1qVryqXddZnqUa3Dbp9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Ney37J7OE9yXQm4I3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m0XoyCHWnfD2LOLczuw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PHwY_n2zKTuVqbUe0Lg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XPmZFjCwzgNfYsqsNdw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3yCg_rwZ_uUm3A3YDz7w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pLL4PtZfvXXV8TCgqjg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..X2m3ljMMT.9c45cm0A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7O7QTR1EWobjbanOcNlQ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ITIDCiM2GeU6buKp.M5Q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jMXVp_iJROPDbZc9rQjw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D6Ex.jQFR3ba9Jd8cs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_I.NkErJO9q272nfG5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F_16N_CsrMo.xT5Gju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an0.F7h8o.gLRW27C3Q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lZ0fjfIhKxQWOWmSZyg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6vLX_UqJ_nel0XGCkF8g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_r0dWaGeEi0_lGBdWyfQ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sTTFL6HBV0bNuYoVoOg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Kzhy0PjAHxeIrDysDYw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Xws1afsTRjimqbublQQ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7zMxHPzIrPgiGdJWZq4Q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LhgHFqjV1vEKoYsQAHb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pJwtvIczO13I5wlunUg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emHs0gvKRSu0Q0v_xKA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c3rpzyXb_.A2Dlpvj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Rz6XjWfxuVTbvVNv8Ag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k3ZsIviN2MZRUy3u.LHw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qXUQUvsCXYVoq3qLgG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.qo8eEJeF3cNhstuKiw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31UPoJwOzczPJOAApLPA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.45za._XxtL09N86UJA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UBxzFwqVGZa.i4oFyYQ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55akl8k3PHosQUpiIQQ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4IEDPbFEuPWRxGpuV3q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5pHuEy2Jdh8.93Vk1Og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kB7oAHvrmHtrF7XEknQ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OUH7GO1CguS41OW3Nj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A84Ok2co_4PW.j.rayQ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euSz9100w55p2UjDo8PQ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Gm9xrDOF9KiPmBe6pRA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herw_dhISAJjE8viRiGA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gIAgFrx0WX9s2s0mCjvA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03CVFIKPcKByVvd4aen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iOst5_JKoyKC9bgdAVmg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9HkKXbUiTgz5rk6PyQvQ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mFaCkg5btd9haG.16fDw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kpyKnI27GMuet5nTJ6g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ngXrZxG1gnfh_NPJT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_CUN9TUf6c.ENAzyrJ3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mo45tI8970N7dVLNApD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_NjL0uBCvQvR4BRK7fL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EqUk3SNnadLlCEu1UhV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s4j.9owgsAAyppGpZe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SgDc5S8RRPg4p5wSk2A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b_DKjITObIG0SLWTRJ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YXxNk33vy94QHLlBY_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t4eWuTmb43t_qOKR72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wbcvNUoBCWTaMiUwumo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O9CYuVBF0xthOu3ZqNp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4zu5yUsbNF1IPbTfURB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ajTdAAgT4ucviB8J4RI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Bt2J1m9pLMBKb7DsW4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CVNFvA9rzTsLD1EaXGw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_l8NN92RGNKT4.IhRg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QRfQOQN_iWA7KrRKEs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IHWwp.LX90egv3VyUd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ZY1gYYMruLQxBnFAGq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I_xfi8GGQiDXuPaRe3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1pAyLC1vILtf6KkpRyH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zZE_dVSKtxLsvg1kbh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y3jSn0Otk3L40HwJsk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xFf3Cc5nUlPkTD3ta7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pWR0ZxNdbqhfofLphv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KML1t3pMcf9SAyfjOo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kuLfXSw3vhOSAB90lUr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aegyzzGCzl9aK0AMlv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maAAAL0LVatsQPx2DE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gP7YUevu1v_xX1f7hNP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ZRZH1LW4BZhz64bx42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A9q7HRV4cwntk_ov0n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RZyTmRJe0C_WHVOsP0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roSXJbpJRjo_WPfeiFK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qYCEa7ZdpSEyVEEuhtK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Q.p3Ou.wzmKFSCY2dS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0kDTLnPrCl831eag65J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.sTa8ZcET6QT8SrBH4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OV33iUbFNTyhdaXcU7l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0nro3NqOFzfC73mvNqq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WHU9w37xjNOk5IRM06J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LhgHFqjV1vEKoYsQAH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Yr_MyS79S1HGDtThj6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0gh3XeK.wvRY1raHp3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OzbmYardP3s6A3RggEo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B11TxclKGeSMwJwjSia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A9q7HRV4cwntk_ov0n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kuLfXSw3vhOSAB90lUr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CVNFvA9rzTsLD1EaXGw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03CVFIKPcKByVvd4aen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qXUQUvsCXYVoq3qLgG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OUH7GO1CguS41OW3N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SgDc5S8RRPg4p5wSk2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B11TxclKGeSMwJwjSia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p3BHM12jom3uB.Ngi0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N4xsb1ufygEy_unuhe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K0QMbnWx0PmqJvx9CaW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ZqBSeV_oVSqLvIV8cU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v0TCaBNIxWyRpxyfvPp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EKinQEXL8Ti5rkk33ek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RhyBiI6Ki.YrqJHG0X3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OzbmYardP3s6A3RggEo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p3BHM12jom3uB.Ngi0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WjTEW6tcy3vFVXh7jV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0BN.Bpm8DJaicDljMc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AdWIGH3zjQ81MDmgRM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k3ZsIviN2MZRUy3u.LH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iXVGHLPfGMyoGY90n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N4xsb1ufygEy_unuhe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Rz6XjWfxuVTbvVNv8A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GoyctllpZNneIKbON4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K0QMbnWx0PmqJvx9CaW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Q2wKWJA3tL8yyB5Syl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0CkHwIC8MSn6rRDU3w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JxK1amOHqJA4VUJbSTV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pUh9fxF1t80bXNZv6r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gNY9Vkk2X0XlJi2jZT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r8Pdr8nZckHdyQT4bFn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TkkuKYXOJZtlHulW.x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fLxO.PthJ7vgEcZRgu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OgGhEUXU_YUANQznGTq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ym3.uHDjaSOgJqsxkGw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WXtr3QCdjtmGOjfU_Xe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VpX4Td4j6mMq03DukMU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bLB1_DoLH1ynMpRjvuM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HQ4Fh2G.2wEUjSLubD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2vAfXBV2h9Cf8CES72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mCVC1KOs5kiv6Iivdn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TGatsEWQQaM4HsP2NQR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Z0.lxX.Rifv2xiBsoG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.IqlnsGqdBd..1bb.y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elbCU1Zc6WbmyTgsJo0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gJXme3U09r7Cq2Qe0uE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3HHlxyi6inRmKsdd98r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_CUN9TUf6c.ENAzyrJ3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MOxeu25nqFW8TUpLbr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gEldk.FGKQuTzadaNb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QAX8ClbVRdRp1_eyzHa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m9jcBpoUhkpvBqU9Btw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O7Kc4xHSUUh6BQvy7b0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YXxNk33vy94QHLlBY_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7BDblk04ue7dL8qimos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t4eWuTmb43t_qOKR72j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16cVbWpHTKQam7IRBRY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wbcvNUoBCWTaMiUwumo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EAu1DlsusN5IUTbxjTK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7WCHtPHcx.vjUl6SGm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4Nm6.bBBAYnh_dKhKhB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.PkHRyabKuT4QNK3Q0q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FJIY20CjZSO5G38LUV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RLaCJEVO_Qah.G1mn1_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_l8NN92RGNKT4.IhRg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DUg3o7OacUVMx4f.Om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QRfQOQN_iWA7KrRKEs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IHWwp.LX90egv3VyUd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ZY1gYYMruLQxBnFAGq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8Udr0or_8TDPQJmo0D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I_xfi8GGQiDXuPaRe3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zZE_dVSKtxLsvg1kb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y3jSn0Otk3L40HwJsk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xFf3Cc5nUlPkTD3ta7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pWR0ZxNdbqhfofLphv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KML1t3pMcf9SAyfjOo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Bt2J1m9pLMBKb7DsW4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maAAAL0LVatsQPx2DE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uPFWIkyjx2P44o8NdVi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DLX2xfPATijCvyt2BK1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jsUTJ83tHe4GHfQ22Wm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Rz6XjWfxuVTbvVNv8A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TkkuKYXOJZtlHulW.x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4Y1HaeaOoJ3eiJER5Wi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OV33iUbFNTyhdaXcU7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Rz6XjWfxuVTbvVNv8A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GoyctllpZNneIKbON4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DUg3o7OacUVMx4f.Om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jevv5mgkxsBrkFrx51u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udbVEA8kkyoTdpa.g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uvmyKCaBl.kDSZArA3o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P375B7JAs0qmMzCpAr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8Mdd.GxAXB699HXQPb9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gIg5JrlTmIMxFUD080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C.6anl_bv5suKiEVdl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BYF8dWdMhTvX1QXiELh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sDCMgjN7CXnYa5qPo6Q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H6NMnbpAXeLcQokF1S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bI2xBYRJqDEQ5oC9xLF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O7NUpCaYx9aF6jUuJv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9KqBdeHexUrPzKe3SAJ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0OZ_H5sHCw4mSG3D7AK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.ldyvhLLLLy0Il3_SF0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K4dB8WbyGjVXAZUx0lw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DvmwG0wsqoWqrKPJlW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otPbdMywAINWK_Sxg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jDFzANyA130hgZLw2g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M28baE_f4Pf6b.mHem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Xt0AvCf6q2mi_ntepA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UkpOVfZ_IYMG9OTlF7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yLwR6zw72KOt0vU09rp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eF4jvCcY7z9vUyroZyF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LCQKQxQSFFjMI4f91Xz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kXElKNGrWthkp.1hfsu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06vp1CLFrMCTC95gvGi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YNogPa2uxOx_OdjnuN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SQ0fFJWisBJPxuVtfR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eoWFPbXxQhbp8LCVjL2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F10epRkJLtaWI2HsMP9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LhgHFqjV1vEKoYsQAH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vJ.Te0giNuYC7aIwQof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2uJHNnvpLvzAnI77ZIK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9KK9lpmA0ctu4b8slNP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FokZaS60ONeXQ0.qoEB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nlFOWgJkh6AJSR2nHTa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DUnvekJUGP3YYzkR3IO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2RUA7X0TX1mvJSOvsW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hjTrUwPFSyyDxy9yTD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Czww1esIrRXC5Wpav1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Vfu.zYKAjZUqX1NnSw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iXVGHLPfGMyoGY90nV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s6RkqtGnc_sGxgCl.1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zbpsyUU3f_rUJn.OAzQ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NIB9iN2QgmGNbts.M6K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24TfV.RJcAl3aaqiL.P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m5XQZOO.RszcFovl6_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iXVGHLPfGMyoGY90nV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gP7YUevu1v_xX1f7hN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k3ZsIviN2MZRUy3u.LH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AdWIGH3zjQ81MDmgRM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WjTEW6tcy3vFVXh7jV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ym3.uHDjaSOgJqsxkGw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Q2wKWJA3tL8yyB5Syl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0CkHwIC8MSn6rRDU3w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pUh9fxF1t80bXNZv6r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r8Pdr8nZckHdyQT4bFn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TkkuKYXOJZtlHulW.x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fLxO.PthJ7vgEcZRgu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0BN.Bpm8DJaicDljM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GoyctllpZNneIKbON4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RNXD2giMYPV7v4M4Zzi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6BJF8gdCn8NYrLX.v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DUg3o7OacUVMx4f.Om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AdWIGH3zjQ81MDmgRM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ixpr4EUtdgppxAhhg7u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RLaCJEVO_Qah.G1mn1_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8Udr0or_8TDPQJmo0D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mxsZKqbXn9.j.r0AAF2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XMI.ie8DVMaBejzjGos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_h.oSzTRQYBs78w3Un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DPnozJaQE.lcTfd46Ou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tbGuVX0R_Zx_PExlfqI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wMGiIw180vUWKVcD3NO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SMtm7bj3UVpI1_yxKC.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8rYnduOY7yQgC3wo3p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RZyTmRJe0C_WHVOsP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V2H9gttKrNWh9dJTVsy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EbhvL5.qumgJW2TXcUh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gNeisEgnfBaF__96Hga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iyiQF4ckkZyK3.Ah0dv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WjTEW6tcy3vFVXh7jV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T2M0c0xuqVGv0zm9mf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hM_WFcDB1JznkVdnvZ.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ym3.uHDjaSOgJqsxkGw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8Udr0or_8TDPQJmo0D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wbGSNbyWXZE8ag3WYZP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udbVEA8kkyoTdpa.gl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tgdfQYU1E4JW5lWSmB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bbhAQEyji.SYYqxpQ87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fLxO.PthJ7vgEcZRgu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wfFW8yS08zK8ae5SNH5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.GlBpZJTSkTjGEH4sBw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AsC.OwQP6xTp2uQBpm2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tU8M0eb3OiwV4dMzJ0Y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LW34VDL8I9s2TdfEmzb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RORcSKo2nTnFh3Egc2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pLo.y1RsK.PkqMhItmx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LhgHFqjV1vEKoYsQAHb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AlcdeK7jg.YheYMnSRa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iS.zsjd3Dj.RSVXle6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oI6AlhsOBu0u54aT6o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7gM71ba.J_tn3.jxVD_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.pNBe7XrpuiY2gC9kF7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lcnf03lcNKuCOLT2uo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_mqksrNjF9S0E6vUIPp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6fiEy2XN8vzkXuy8F.6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mE0STE9eAwKKza_I3h3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sIqkVGDilnlYQzz5T3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vJ.Te0giNuYC7aIwQof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2uJHNnvpLvzAnI77ZIK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9KK9lpmA0ctu4b8slN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rATxGjREgkLUg_cayYM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cDe1BqakExDghHLR7iQ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z4mk7kzEDrMki_OuYc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lhJAB53wwzvIKhz9KL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sCyTNzODQbdPHLOgmM4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HrIcLLeO0SRe9JlXAs.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MSAa_RZs4HFen4rQDUq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Bpo3HhJCj9pp8bgKrFV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.0nQxS2t44zaF6ZBN0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Q1aSTnNSOJEphwDE.2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0BN.Bpm8DJaicDljMc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9BC07R97piCCu.AayD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BmQOpqJRTUzXPyYo4.Y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dKjrO7SyHzvy5ODR8QD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Qcg07oRZFgMNq2jIgfM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V_xoSH1M4mYqxvBmUQC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eY1YM23YCBKpwkdZ4k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QlIDIGrWaIyNK3gWIJ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baHXofsTOx11kJFWeN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gK.2jeZ8eF_MN2PizhF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u7BI_kLU5KwOSwN6Ce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NsaDuvZKMD6Y3dXd9o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XS4AzQyHq2mnSHoRez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WjTEW6tcy3vFVXh7jV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35cLK6t8O1tdI21U56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K6ga3EAbbOOI_ZIQV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.sXKlflXoFMmXk7Bfd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DgfMgMijLE2fxdO7Os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eQ6tZQH2BKT0T3cPxa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21GKdDxzRCaZ2ZO5Ie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TbxAD64QMYNe3C8bhw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ZONSdlKmXFDMJEk51x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u6cKX1KZqbUisMtUiQ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mGhSJUYvEr4ehi2EMG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ycqT_LRmMskYLcMOgb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Ur0bn8V8YGj6YheT.E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Q2wKWJA3tL8yyB5Syl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TOnPTfmOcDqVhlsthuf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Gq.uQIxOpj7njFBtlN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Q2wKWJA3tL8yyB5Syl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sZ7dI9YuQ1OX9lqn53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0CkHwIC8MSn6rRDU3w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7guB.zG5f2bNZmD_iN6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pUh9fxF1t80bXNZv6r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XG9t4.K08dFTeDZiu1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31bWox_YQPG1BmVvAPw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r8Pdr8nZckHdyQT4bFn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1FRkGtmsI_SSeGqxBo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ByCqcnMLKewlxxo5wV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TkkuKYXOJZtlHulW.x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f82amzmcXC7ndHkLvb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RgueU5EbjbmgW5MfsT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fLxO.PthJ7vgEcZRgu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0kV0c6oFPcfaSdGcfh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IvcY4wTzA9nvIBQIc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0CkHwIC8MSn6rRDU3w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8HL36Mpz4WkR1mrwSlu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PlGT.nlatVmH9jDodY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lBEH6DSdGFzBJNAham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GoyctllpZNneIKbON4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mwNkQALBSlmyfB6Hjk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iXVGHLPfGMyoGY90nV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RVyQJuvAeXG.sGpO19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3JIW_KV9tdMV2OzNgRH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AdWIGH3zjQ81MDmgR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W9FP6CmOCzW2GuYKIm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iz6JYHMGy55jfR9dBd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fKH1v36V3x6xeD__lq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VFDIAHaVZA7iNdNy__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0BN.Bpm8DJaicDljMc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44pNiRq_bIQWY_MXeP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sQAawqE.I1OAFnJBz0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ym3.uHDjaSOgJqsxkGw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EbSvTpcBsDnN5oImV.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JwxFAvsWWbSgOXCiz1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roSXJbpJRjo_WPfeiFK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pUh9fxF1t80bXNZv6r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N3ZNlfsj9mGKpC8RHL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ZH9b0DpWO3l4P6Q0QbB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0.UdjQcc4EYmYHQ2VXg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wLyr9ssfTX4dI0L_je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uDxA2jkBIG79UjsA2cu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7gWTkdTyumfrg2Ub6nr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6Qx0exJSvtFP97okncJ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tZO6m9xMn0CQTCdqB_2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J0q0K1X2YpZ5UFW3sII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o4R9Yzu3r3Q7TG9Tv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KXyvIfCqWHA7ysl6kdC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lUZwohw30y_xlofLfzp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3GgL6eSufM9.FvCj6lO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kik4wgSN2A0dAcrjm2X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_CUN9TUf6c.ENAzyrJ3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_ZnPBvRneCAN1hYkUcU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gkFcD1h7qy9K4V9bYNc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3_pjtVI8x41BRR_udhV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t4eWuTmb43t_qOKR72j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b_DKjITObIG0SLWTRJ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Mzf5JakybMFgUJ1eXj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r8Pdr8nZckHdyQT4bFn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h67ruLF66ndnVY_ib0b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wbcvNUoBCWTaMiUwumo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G3vwgs5Dc9JVIed1Fs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zS4RQKktQpqVghanzfp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f4Y1x5RQe.7yK_3gXQ5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YXxNk33vy94QHLlBY_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YyVEbMvm9SSpBliS0Ex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MnuhKc7KLH_iedxenad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XMVyL5EYFYyRn6REU6D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ASRDmTAMDjPmhM1dN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tZZCLWZ5oUaoK5.6FBe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ZY1gYYMruLQxBnFAGqA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SDIn68smR4SrIPivMo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DUg3o7OacUVMx4f.Om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QRfQOQN_iWA7KrRKEs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IQ4z3nkuYQBQVZebsww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H.YIEf601Il81w2gud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IHWwp.LX90egv3VyUd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4ezD3gbs.VIKDZjfUBz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6vbs8VMHRneAb4gDlMaw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RLaCJEVO_Qah.G1mn1_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NUMs_3WXnyCuQXsxfET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WD88U6dp4ybUZrwjew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8Udr0or_8TDPQJmo0D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I_xfi8GGQiDXuPaRe3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zTtM4snV91tdY1yhGb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7KnXDsKNSQ.7d7ScM1y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MzZE_dVSKtxLsvg1kbh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cKlBYY75tjShFh6Ks5s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oA0dHlY6ikFAm3oHz7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y3jSn0Otk3L40HwJsk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4iwjkQ4hKJmalbv7Xg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taNWEP_cYN2i72VMJ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R81L57QAT.Vt9edUXh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xFf3Cc5nUlPkTD3ta7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rnExF3m0VxC7Py771W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ZNr4sYnyLM9WpcdQVX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pWR0ZxNdbqhfofLphv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428_XPDhDetf69puEMn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GuzrmJxZKqWFn0fBac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KML1t3pMcf9SAyfjOo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YvBoO.iiM93ft_lSO9.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gI1SKZqnUNjOMD7EO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VpX4Td4j6mMq03DukMU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PRXTS6cWv6ARB_HB7m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6yZJggRTPbUKOq5YgH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jqZOdlW2oTW4y5vBl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oCxar37G9q0_.r4g3g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dR6gvW3VMlY7pFYrb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RZOTHDluToGFdTUsgk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zsykM8itxyPYKAod8xK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E0aDdTpNqBdoAAVJAPI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39MrLF96Kg8NFCrNfW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_e0imDmoH.P6U6kisR3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bLB1_DoLH1ynMpRjvuM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gXt9epvux0l6tbnbW9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8jWLhSBYPWGEUu9WViH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t3zvZvkGzVrtkTPpmT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hHfHkkPkOdkRaXbTiuy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maAAAL0LVatsQPx2DE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cCGcqCLF8pj2qQnjk.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2577tVLey.pBDbrBDh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Bt2J1m9pLMBKb7DsW4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UR6lKWM1f2iRlibRSA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_l8NN92RGNKT4.IhR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FnAvP0gtm0DRSn.hlG4w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MCtiQ6K27HPpvX1XB3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uZPkm3iKhwYmHuXH8rC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QUz01eNfqdmcaXeGCTR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2en3FZgJvu5wL41OMA5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L2MPzoDKE.lP2xFanfs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GXf8z6xMob_zyn_IYq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CgkTREfsEmmgnfQeQAP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_E0qKLHTwHXMOzNWjg1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chAtxm4JiNW_aKuLZU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46BjS4Q8urZHzRNrzdG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qHsEgBNWnuTTSJbm.Mu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1f0azFb4OYaLQy0UbHmw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dp1vszmTOwGfVzC7fL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hCqoCETbjH4WPyGA7q.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tdgd1lrBkdL6LyquIA3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4p9P03pRNaWGqfkWPB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Ptj64CMt2R6AUERbI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tUjv.BTEQXTKIjbqbF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TR9.xmv3R1RhUm8Zgi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EG97uktk0CiLG4MqrfA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1161</TotalTime>
  <Words>2538</Words>
  <Application>Microsoft Macintosh PowerPoint</Application>
  <PresentationFormat>自定义</PresentationFormat>
  <Paragraphs>2090</Paragraphs>
  <Slides>17</Slides>
  <Notes>17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6" baseType="lpstr">
      <vt:lpstr>等线</vt:lpstr>
      <vt:lpstr>KaiTi</vt:lpstr>
      <vt:lpstr>Microsoft YaHei</vt:lpstr>
      <vt:lpstr>Yuanti SC</vt:lpstr>
      <vt:lpstr>Arial</vt:lpstr>
      <vt:lpstr>Calibri</vt:lpstr>
      <vt:lpstr>Calibri Light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丝路</cp:lastModifiedBy>
  <cp:revision>19</cp:revision>
  <cp:lastPrinted>2026-05-18T11:33:27Z</cp:lastPrinted>
  <dcterms:created xsi:type="dcterms:W3CDTF">2026-05-18T11:32:30Z</dcterms:created>
  <dcterms:modified xsi:type="dcterms:W3CDTF">2026-05-26T07:24:42Z</dcterms:modified>
</cp:coreProperties>
</file>